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29" r:id="rId5"/>
  </p:sldMasterIdLst>
  <p:notesMasterIdLst>
    <p:notesMasterId r:id="rId15"/>
  </p:notesMasterIdLst>
  <p:handoutMasterIdLst>
    <p:handoutMasterId r:id="rId16"/>
  </p:handoutMasterIdLst>
  <p:sldIdLst>
    <p:sldId id="259" r:id="rId6"/>
    <p:sldId id="260" r:id="rId7"/>
    <p:sldId id="269" r:id="rId8"/>
    <p:sldId id="270" r:id="rId9"/>
    <p:sldId id="268" r:id="rId10"/>
    <p:sldId id="276" r:id="rId11"/>
    <p:sldId id="264" r:id="rId12"/>
    <p:sldId id="263" r:id="rId13"/>
    <p:sldId id="277" r:id="rId14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84293" autoAdjust="0"/>
  </p:normalViewPr>
  <p:slideViewPr>
    <p:cSldViewPr snapToGrid="0">
      <p:cViewPr varScale="1">
        <p:scale>
          <a:sx n="135" d="100"/>
          <a:sy n="135" d="100"/>
        </p:scale>
        <p:origin x="107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spen Madsen" userId="93eddcbf-e7d8-446e-a283-897ca417153f" providerId="ADAL" clId="{8C1207FC-0010-41AD-AC58-F064959F806E}"/>
    <pc:docChg chg="modSld">
      <pc:chgData name="Espen Madsen" userId="93eddcbf-e7d8-446e-a283-897ca417153f" providerId="ADAL" clId="{8C1207FC-0010-41AD-AC58-F064959F806E}" dt="2024-06-06T09:47:15.950" v="6" actId="6549"/>
      <pc:docMkLst>
        <pc:docMk/>
      </pc:docMkLst>
      <pc:sldChg chg="modNotesTx">
        <pc:chgData name="Espen Madsen" userId="93eddcbf-e7d8-446e-a283-897ca417153f" providerId="ADAL" clId="{8C1207FC-0010-41AD-AC58-F064959F806E}" dt="2024-06-06T09:46:55.284" v="0" actId="6549"/>
        <pc:sldMkLst>
          <pc:docMk/>
          <pc:sldMk cId="2026507714" sldId="259"/>
        </pc:sldMkLst>
      </pc:sldChg>
      <pc:sldChg chg="modNotesTx">
        <pc:chgData name="Espen Madsen" userId="93eddcbf-e7d8-446e-a283-897ca417153f" providerId="ADAL" clId="{8C1207FC-0010-41AD-AC58-F064959F806E}" dt="2024-06-06T09:47:00.006" v="1" actId="6549"/>
        <pc:sldMkLst>
          <pc:docMk/>
          <pc:sldMk cId="1781202218" sldId="260"/>
        </pc:sldMkLst>
      </pc:sldChg>
      <pc:sldChg chg="modNotesTx">
        <pc:chgData name="Espen Madsen" userId="93eddcbf-e7d8-446e-a283-897ca417153f" providerId="ADAL" clId="{8C1207FC-0010-41AD-AC58-F064959F806E}" dt="2024-06-06T09:47:15.950" v="6" actId="6549"/>
        <pc:sldMkLst>
          <pc:docMk/>
          <pc:sldMk cId="2511830903" sldId="263"/>
        </pc:sldMkLst>
      </pc:sldChg>
      <pc:sldChg chg="modNotesTx">
        <pc:chgData name="Espen Madsen" userId="93eddcbf-e7d8-446e-a283-897ca417153f" providerId="ADAL" clId="{8C1207FC-0010-41AD-AC58-F064959F806E}" dt="2024-06-06T09:47:12.756" v="5" actId="6549"/>
        <pc:sldMkLst>
          <pc:docMk/>
          <pc:sldMk cId="1068739982" sldId="264"/>
        </pc:sldMkLst>
      </pc:sldChg>
      <pc:sldChg chg="modNotesTx">
        <pc:chgData name="Espen Madsen" userId="93eddcbf-e7d8-446e-a283-897ca417153f" providerId="ADAL" clId="{8C1207FC-0010-41AD-AC58-F064959F806E}" dt="2024-06-06T09:47:09.251" v="4" actId="6549"/>
        <pc:sldMkLst>
          <pc:docMk/>
          <pc:sldMk cId="2102574849" sldId="268"/>
        </pc:sldMkLst>
      </pc:sldChg>
      <pc:sldChg chg="modNotesTx">
        <pc:chgData name="Espen Madsen" userId="93eddcbf-e7d8-446e-a283-897ca417153f" providerId="ADAL" clId="{8C1207FC-0010-41AD-AC58-F064959F806E}" dt="2024-06-06T09:47:02.944" v="2" actId="6549"/>
        <pc:sldMkLst>
          <pc:docMk/>
          <pc:sldMk cId="1905267365" sldId="269"/>
        </pc:sldMkLst>
      </pc:sldChg>
      <pc:sldChg chg="modNotesTx">
        <pc:chgData name="Espen Madsen" userId="93eddcbf-e7d8-446e-a283-897ca417153f" providerId="ADAL" clId="{8C1207FC-0010-41AD-AC58-F064959F806E}" dt="2024-06-06T09:47:06.007" v="3" actId="6549"/>
        <pc:sldMkLst>
          <pc:docMk/>
          <pc:sldMk cId="2466528338" sldId="270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erie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11</c:f>
              <c:numCache>
                <c:formatCode>m/d/yyyy</c:formatCode>
                <c:ptCount val="10"/>
                <c:pt idx="0">
                  <c:v>44866</c:v>
                </c:pt>
                <c:pt idx="1">
                  <c:v>44958</c:v>
                </c:pt>
                <c:pt idx="2">
                  <c:v>45047</c:v>
                </c:pt>
                <c:pt idx="3">
                  <c:v>45139</c:v>
                </c:pt>
                <c:pt idx="4">
                  <c:v>45231</c:v>
                </c:pt>
                <c:pt idx="5">
                  <c:v>45323</c:v>
                </c:pt>
                <c:pt idx="6">
                  <c:v>45413</c:v>
                </c:pt>
                <c:pt idx="7">
                  <c:v>45444</c:v>
                </c:pt>
              </c:numCache>
            </c:numRef>
          </c:cat>
          <c:val>
            <c:numRef>
              <c:f>'Ark1'!$B$2:$B$11</c:f>
              <c:numCache>
                <c:formatCode>General</c:formatCode>
                <c:ptCount val="10"/>
                <c:pt idx="0">
                  <c:v>147</c:v>
                </c:pt>
                <c:pt idx="1">
                  <c:v>147</c:v>
                </c:pt>
                <c:pt idx="2">
                  <c:v>167</c:v>
                </c:pt>
                <c:pt idx="3">
                  <c:v>196</c:v>
                </c:pt>
                <c:pt idx="4">
                  <c:v>244</c:v>
                </c:pt>
                <c:pt idx="5">
                  <c:v>264</c:v>
                </c:pt>
                <c:pt idx="6">
                  <c:v>313</c:v>
                </c:pt>
                <c:pt idx="7">
                  <c:v>4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642-431C-9AA3-4AFE89D82F0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2607"/>
        <c:axId val="1449912672"/>
      </c:lineChart>
      <c:dateAx>
        <c:axId val="142607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449912672"/>
        <c:crosses val="autoZero"/>
        <c:auto val="1"/>
        <c:lblOffset val="100"/>
        <c:baseTimeUnit val="months"/>
        <c:majorUnit val="6"/>
        <c:majorTimeUnit val="months"/>
      </c:dateAx>
      <c:valAx>
        <c:axId val="1449912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42607"/>
        <c:crossesAt val="44866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svg"/><Relationship Id="rId1" Type="http://schemas.openxmlformats.org/officeDocument/2006/relationships/image" Target="../media/image34.png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image" Target="../media/image37.svg"/><Relationship Id="rId9" Type="http://schemas.openxmlformats.org/officeDocument/2006/relationships/image" Target="../media/image42.pn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svg"/><Relationship Id="rId1" Type="http://schemas.openxmlformats.org/officeDocument/2006/relationships/image" Target="../media/image34.png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image" Target="../media/image37.svg"/><Relationship Id="rId9" Type="http://schemas.openxmlformats.org/officeDocument/2006/relationships/image" Target="../media/image42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svg"/><Relationship Id="rId1" Type="http://schemas.openxmlformats.org/officeDocument/2006/relationships/image" Target="../media/image34.png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image" Target="../media/image37.svg"/><Relationship Id="rId9" Type="http://schemas.openxmlformats.org/officeDocument/2006/relationships/image" Target="../media/image42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svg"/><Relationship Id="rId1" Type="http://schemas.openxmlformats.org/officeDocument/2006/relationships/image" Target="../media/image34.png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image" Target="../media/image37.svg"/><Relationship Id="rId9" Type="http://schemas.openxmlformats.org/officeDocument/2006/relationships/image" Target="../media/image4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55F98B2-EF7E-46EA-9552-2486922A9E34}" type="doc">
      <dgm:prSet loTypeId="urn:microsoft.com/office/officeart/2018/2/layout/IconVerticalSolidList" loCatId="icon" qsTypeId="urn:microsoft.com/office/officeart/2005/8/quickstyle/simple4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4EAD5DE7-D6A9-43A1-A1C6-F6220C0F5D9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nb-NO" sz="2000" dirty="0"/>
            <a:t>Volumrabatt  - (kr 450 000)</a:t>
          </a:r>
          <a:endParaRPr lang="en-US" sz="2000" dirty="0"/>
        </a:p>
      </dgm:t>
    </dgm:pt>
    <dgm:pt modelId="{A7A9DFFD-10F2-41E6-B64B-20F258ACC693}" type="parTrans" cxnId="{98C36760-3222-4E00-9AE7-9D7816A0FE6B}">
      <dgm:prSet/>
      <dgm:spPr/>
      <dgm:t>
        <a:bodyPr/>
        <a:lstStyle/>
        <a:p>
          <a:endParaRPr lang="en-US"/>
        </a:p>
      </dgm:t>
    </dgm:pt>
    <dgm:pt modelId="{6656224C-9CDF-4741-8BA6-ED90C9AF2F7F}" type="sibTrans" cxnId="{98C36760-3222-4E00-9AE7-9D7816A0FE6B}">
      <dgm:prSet/>
      <dgm:spPr/>
      <dgm:t>
        <a:bodyPr/>
        <a:lstStyle/>
        <a:p>
          <a:endParaRPr lang="en-US"/>
        </a:p>
      </dgm:t>
    </dgm:pt>
    <dgm:pt modelId="{EEFB7F8C-A6AC-441F-9653-ACB8813FA43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nb-NO" sz="2000" dirty="0"/>
            <a:t>Gjenbruk av lisenser - (kr 150 000)</a:t>
          </a:r>
          <a:endParaRPr lang="en-US" sz="2000" dirty="0"/>
        </a:p>
      </dgm:t>
    </dgm:pt>
    <dgm:pt modelId="{A926585B-0F0C-4ED5-BABF-A0B50CD12AA6}" type="parTrans" cxnId="{74EE91A7-2187-422F-98A5-80FE89D685F6}">
      <dgm:prSet/>
      <dgm:spPr/>
      <dgm:t>
        <a:bodyPr/>
        <a:lstStyle/>
        <a:p>
          <a:endParaRPr lang="en-US"/>
        </a:p>
      </dgm:t>
    </dgm:pt>
    <dgm:pt modelId="{8C8B0D38-E0E3-4EED-BC3A-C0A3CA7A6AB6}" type="sibTrans" cxnId="{74EE91A7-2187-422F-98A5-80FE89D685F6}">
      <dgm:prSet/>
      <dgm:spPr/>
      <dgm:t>
        <a:bodyPr/>
        <a:lstStyle/>
        <a:p>
          <a:endParaRPr lang="en-US"/>
        </a:p>
      </dgm:t>
    </dgm:pt>
    <dgm:pt modelId="{65FAB6ED-5245-4D10-A42A-7702CBDF05A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nb-NO" sz="2000" dirty="0"/>
            <a:t>Låst pris for 3år – (Forutsigbart)</a:t>
          </a:r>
          <a:endParaRPr lang="en-US" sz="2000" dirty="0"/>
        </a:p>
      </dgm:t>
    </dgm:pt>
    <dgm:pt modelId="{DC772A71-4468-4CB9-87A8-D5AAA0F3B77B}" type="parTrans" cxnId="{A67B3DD6-8805-4898-AC2A-6A51BED14675}">
      <dgm:prSet/>
      <dgm:spPr/>
      <dgm:t>
        <a:bodyPr/>
        <a:lstStyle/>
        <a:p>
          <a:endParaRPr lang="en-US"/>
        </a:p>
      </dgm:t>
    </dgm:pt>
    <dgm:pt modelId="{8474E244-BBD0-4907-A43E-F3E58F75916C}" type="sibTrans" cxnId="{A67B3DD6-8805-4898-AC2A-6A51BED14675}">
      <dgm:prSet/>
      <dgm:spPr/>
      <dgm:t>
        <a:bodyPr/>
        <a:lstStyle/>
        <a:p>
          <a:endParaRPr lang="en-US"/>
        </a:p>
      </dgm:t>
    </dgm:pt>
    <dgm:pt modelId="{DB255AFD-AFB9-42E3-8930-6BEE0EEBE56D}">
      <dgm:prSet/>
      <dgm:spPr/>
      <dgm:t>
        <a:bodyPr/>
        <a:lstStyle/>
        <a:p>
          <a:pPr>
            <a:lnSpc>
              <a:spcPct val="100000"/>
            </a:lnSpc>
          </a:pPr>
          <a:r>
            <a:rPr kumimoji="0" lang="nb-NO" b="0" i="0" u="none" strike="noStrike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Ett felles årsoppgjør - (</a:t>
          </a:r>
          <a:r>
            <a:rPr lang="nb-NO"/>
            <a:t>Tidsbesparende</a:t>
          </a:r>
          <a:r>
            <a:rPr kumimoji="0" lang="nb-NO" b="0" i="0" u="none" strike="noStrike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)</a:t>
          </a:r>
          <a:endParaRPr lang="nb-NO" dirty="0"/>
        </a:p>
      </dgm:t>
    </dgm:pt>
    <dgm:pt modelId="{0809D44E-27B7-4CFF-8DDC-D0FD4A1154C2}" type="parTrans" cxnId="{D561E4E2-6349-422E-82E9-152AF8C87EE7}">
      <dgm:prSet/>
      <dgm:spPr/>
      <dgm:t>
        <a:bodyPr/>
        <a:lstStyle/>
        <a:p>
          <a:endParaRPr lang="nb-NO"/>
        </a:p>
      </dgm:t>
    </dgm:pt>
    <dgm:pt modelId="{A731F28C-86FF-4524-AAA8-5D24BC423C71}" type="sibTrans" cxnId="{D561E4E2-6349-422E-82E9-152AF8C87EE7}">
      <dgm:prSet/>
      <dgm:spPr/>
      <dgm:t>
        <a:bodyPr/>
        <a:lstStyle/>
        <a:p>
          <a:endParaRPr lang="nb-NO"/>
        </a:p>
      </dgm:t>
    </dgm:pt>
    <dgm:pt modelId="{C8FB63A0-23DA-4137-A699-A92EA17B4CF1}">
      <dgm:prSet/>
      <dgm:spPr/>
      <dgm:t>
        <a:bodyPr/>
        <a:lstStyle/>
        <a:p>
          <a:pPr>
            <a:lnSpc>
              <a:spcPct val="100000"/>
            </a:lnSpc>
          </a:pPr>
          <a:r>
            <a:rPr lang="nb-NO" dirty="0"/>
            <a:t>Administrative kostnader - (Mange bruker mindre tid)</a:t>
          </a:r>
        </a:p>
      </dgm:t>
    </dgm:pt>
    <dgm:pt modelId="{5AD991F5-58D9-4A04-A383-934594C1D8DF}" type="parTrans" cxnId="{819DCBEE-B5BC-46C7-B9AF-FB664C54C497}">
      <dgm:prSet/>
      <dgm:spPr/>
      <dgm:t>
        <a:bodyPr/>
        <a:lstStyle/>
        <a:p>
          <a:endParaRPr lang="nb-NO"/>
        </a:p>
      </dgm:t>
    </dgm:pt>
    <dgm:pt modelId="{9EED95F2-E77F-437D-8D08-A89B30E55B0A}" type="sibTrans" cxnId="{819DCBEE-B5BC-46C7-B9AF-FB664C54C497}">
      <dgm:prSet/>
      <dgm:spPr/>
      <dgm:t>
        <a:bodyPr/>
        <a:lstStyle/>
        <a:p>
          <a:endParaRPr lang="nb-NO"/>
        </a:p>
      </dgm:t>
    </dgm:pt>
    <dgm:pt modelId="{0DEF1EF8-68F0-46B8-8F95-F515D1470DBC}" type="pres">
      <dgm:prSet presAssocID="{D55F98B2-EF7E-46EA-9552-2486922A9E34}" presName="root" presStyleCnt="0">
        <dgm:presLayoutVars>
          <dgm:dir/>
          <dgm:resizeHandles val="exact"/>
        </dgm:presLayoutVars>
      </dgm:prSet>
      <dgm:spPr/>
    </dgm:pt>
    <dgm:pt modelId="{DCD61F6F-E5C6-4467-847E-1BCE4FC91CE1}" type="pres">
      <dgm:prSet presAssocID="{4EAD5DE7-D6A9-43A1-A1C6-F6220C0F5D92}" presName="compNode" presStyleCnt="0"/>
      <dgm:spPr/>
    </dgm:pt>
    <dgm:pt modelId="{5318286F-08A3-4B75-A2B1-8540F368FC65}" type="pres">
      <dgm:prSet presAssocID="{4EAD5DE7-D6A9-43A1-A1C6-F6220C0F5D92}" presName="bgRect" presStyleLbl="bgShp" presStyleIdx="0" presStyleCnt="5" custLinFactNeighborY="1128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1D11C1BA-FF0B-4EBC-847F-8093FC3B38F5}" type="pres">
      <dgm:prSet presAssocID="{4EAD5DE7-D6A9-43A1-A1C6-F6220C0F5D92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</dgm:pt>
    <dgm:pt modelId="{AE158CFC-D4FA-4468-9B31-4D5E1C003AD1}" type="pres">
      <dgm:prSet presAssocID="{4EAD5DE7-D6A9-43A1-A1C6-F6220C0F5D92}" presName="spaceRect" presStyleCnt="0"/>
      <dgm:spPr/>
    </dgm:pt>
    <dgm:pt modelId="{2676364E-7EC2-4A32-BAE2-573C75C14FC6}" type="pres">
      <dgm:prSet presAssocID="{4EAD5DE7-D6A9-43A1-A1C6-F6220C0F5D92}" presName="parTx" presStyleLbl="revTx" presStyleIdx="0" presStyleCnt="5">
        <dgm:presLayoutVars>
          <dgm:chMax val="0"/>
          <dgm:chPref val="0"/>
        </dgm:presLayoutVars>
      </dgm:prSet>
      <dgm:spPr/>
    </dgm:pt>
    <dgm:pt modelId="{824B7F50-A366-48F9-9A84-9E7B8CD6CC9E}" type="pres">
      <dgm:prSet presAssocID="{6656224C-9CDF-4741-8BA6-ED90C9AF2F7F}" presName="sibTrans" presStyleCnt="0"/>
      <dgm:spPr/>
    </dgm:pt>
    <dgm:pt modelId="{EC58067D-CCBE-48E8-9AB1-E89B7AB64ED7}" type="pres">
      <dgm:prSet presAssocID="{EEFB7F8C-A6AC-441F-9653-ACB8813FA43A}" presName="compNode" presStyleCnt="0"/>
      <dgm:spPr/>
    </dgm:pt>
    <dgm:pt modelId="{07DDC65A-A0B3-4DF1-9988-A786B9368D5B}" type="pres">
      <dgm:prSet presAssocID="{EEFB7F8C-A6AC-441F-9653-ACB8813FA43A}" presName="bgRect" presStyleLbl="bgShp" presStyleIdx="1" presStyleCnt="5" custLinFactNeighborY="-284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0CAE84FC-2E69-4752-8E0A-09B2291A4E93}" type="pres">
      <dgm:prSet presAssocID="{EEFB7F8C-A6AC-441F-9653-ACB8813FA43A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ecycle outline"/>
        </a:ext>
      </dgm:extLst>
    </dgm:pt>
    <dgm:pt modelId="{D26D473D-2728-4287-B293-828388B7E994}" type="pres">
      <dgm:prSet presAssocID="{EEFB7F8C-A6AC-441F-9653-ACB8813FA43A}" presName="spaceRect" presStyleCnt="0"/>
      <dgm:spPr/>
    </dgm:pt>
    <dgm:pt modelId="{06C2FDAC-20D1-41E0-81F2-524D64DDAECB}" type="pres">
      <dgm:prSet presAssocID="{EEFB7F8C-A6AC-441F-9653-ACB8813FA43A}" presName="parTx" presStyleLbl="revTx" presStyleIdx="1" presStyleCnt="5">
        <dgm:presLayoutVars>
          <dgm:chMax val="0"/>
          <dgm:chPref val="0"/>
        </dgm:presLayoutVars>
      </dgm:prSet>
      <dgm:spPr/>
    </dgm:pt>
    <dgm:pt modelId="{71CE51C2-8DD6-4C8F-A9BA-87597DB78528}" type="pres">
      <dgm:prSet presAssocID="{8C8B0D38-E0E3-4EED-BC3A-C0A3CA7A6AB6}" presName="sibTrans" presStyleCnt="0"/>
      <dgm:spPr/>
    </dgm:pt>
    <dgm:pt modelId="{5CE183BD-2635-4EE5-B67A-E0268C09340E}" type="pres">
      <dgm:prSet presAssocID="{C8FB63A0-23DA-4137-A699-A92EA17B4CF1}" presName="compNode" presStyleCnt="0"/>
      <dgm:spPr/>
    </dgm:pt>
    <dgm:pt modelId="{76DE2B3B-A490-4C0F-A879-61CF6DBA4B1F}" type="pres">
      <dgm:prSet presAssocID="{C8FB63A0-23DA-4137-A699-A92EA17B4CF1}" presName="bgRect" presStyleLbl="bgShp" presStyleIdx="2" presStyleCnt="5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39AFC5F9-4BB1-4691-89E7-F5F887444BC0}" type="pres">
      <dgm:prSet presAssocID="{C8FB63A0-23DA-4137-A699-A92EA17B4CF1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Klokke kontur"/>
        </a:ext>
      </dgm:extLst>
    </dgm:pt>
    <dgm:pt modelId="{058E2E93-12D0-454C-A1FD-AA7F08EAE612}" type="pres">
      <dgm:prSet presAssocID="{C8FB63A0-23DA-4137-A699-A92EA17B4CF1}" presName="spaceRect" presStyleCnt="0"/>
      <dgm:spPr/>
    </dgm:pt>
    <dgm:pt modelId="{24B970AE-EC15-4047-BDD8-A9FA13BA54D8}" type="pres">
      <dgm:prSet presAssocID="{C8FB63A0-23DA-4137-A699-A92EA17B4CF1}" presName="parTx" presStyleLbl="revTx" presStyleIdx="2" presStyleCnt="5">
        <dgm:presLayoutVars>
          <dgm:chMax val="0"/>
          <dgm:chPref val="0"/>
        </dgm:presLayoutVars>
      </dgm:prSet>
      <dgm:spPr/>
    </dgm:pt>
    <dgm:pt modelId="{ACBD15E5-A3B4-4130-95C1-26344E344E5F}" type="pres">
      <dgm:prSet presAssocID="{9EED95F2-E77F-437D-8D08-A89B30E55B0A}" presName="sibTrans" presStyleCnt="0"/>
      <dgm:spPr/>
    </dgm:pt>
    <dgm:pt modelId="{0AC26835-49CC-4572-AA57-86B4900650AF}" type="pres">
      <dgm:prSet presAssocID="{65FAB6ED-5245-4D10-A42A-7702CBDF05AD}" presName="compNode" presStyleCnt="0"/>
      <dgm:spPr/>
    </dgm:pt>
    <dgm:pt modelId="{3AA8E565-E85D-4AB2-B1C2-2E312CCDF00E}" type="pres">
      <dgm:prSet presAssocID="{65FAB6ED-5245-4D10-A42A-7702CBDF05AD}" presName="bgRect" presStyleLbl="bgShp" presStyleIdx="3" presStyleCnt="5" custLinFactNeighborX="295" custLinFactNeighborY="-2642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2562C5B4-4BC5-467D-A889-D83DAE3094A3}" type="pres">
      <dgm:prSet presAssocID="{65FAB6ED-5245-4D10-A42A-7702CBDF05AD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Lock outline"/>
        </a:ext>
      </dgm:extLst>
    </dgm:pt>
    <dgm:pt modelId="{0D2F0A9A-7142-48B0-A232-D7687FF245D1}" type="pres">
      <dgm:prSet presAssocID="{65FAB6ED-5245-4D10-A42A-7702CBDF05AD}" presName="spaceRect" presStyleCnt="0"/>
      <dgm:spPr/>
    </dgm:pt>
    <dgm:pt modelId="{D8784603-EB2C-47BD-94D4-793C1430A71F}" type="pres">
      <dgm:prSet presAssocID="{65FAB6ED-5245-4D10-A42A-7702CBDF05AD}" presName="parTx" presStyleLbl="revTx" presStyleIdx="3" presStyleCnt="5">
        <dgm:presLayoutVars>
          <dgm:chMax val="0"/>
          <dgm:chPref val="0"/>
        </dgm:presLayoutVars>
      </dgm:prSet>
      <dgm:spPr/>
    </dgm:pt>
    <dgm:pt modelId="{9785CA69-9008-4E50-8AF8-986084335575}" type="pres">
      <dgm:prSet presAssocID="{8474E244-BBD0-4907-A43E-F3E58F75916C}" presName="sibTrans" presStyleCnt="0"/>
      <dgm:spPr/>
    </dgm:pt>
    <dgm:pt modelId="{5A070ECE-A951-425C-A89F-878F34C6E72F}" type="pres">
      <dgm:prSet presAssocID="{DB255AFD-AFB9-42E3-8930-6BEE0EEBE56D}" presName="compNode" presStyleCnt="0"/>
      <dgm:spPr/>
    </dgm:pt>
    <dgm:pt modelId="{04B3C262-D1B0-4077-92F7-500741EFDB9B}" type="pres">
      <dgm:prSet presAssocID="{DB255AFD-AFB9-42E3-8930-6BEE0EEBE56D}" presName="bgRect" presStyleLbl="bgShp" presStyleIdx="4" presStyleCnt="5" custScaleY="103939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B68F4B11-9E27-4513-B050-77E66D56FECA}" type="pres">
      <dgm:prSet presAssocID="{DB255AFD-AFB9-42E3-8930-6BEE0EEBE56D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imeglass fullt kontur"/>
        </a:ext>
      </dgm:extLst>
    </dgm:pt>
    <dgm:pt modelId="{B0691002-2BDB-43DD-98B0-AEE17B45CF82}" type="pres">
      <dgm:prSet presAssocID="{DB255AFD-AFB9-42E3-8930-6BEE0EEBE56D}" presName="spaceRect" presStyleCnt="0"/>
      <dgm:spPr/>
    </dgm:pt>
    <dgm:pt modelId="{8905AEB3-1339-4BB9-A76B-7886EB6CFCB2}" type="pres">
      <dgm:prSet presAssocID="{DB255AFD-AFB9-42E3-8930-6BEE0EEBE56D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98C36760-3222-4E00-9AE7-9D7816A0FE6B}" srcId="{D55F98B2-EF7E-46EA-9552-2486922A9E34}" destId="{4EAD5DE7-D6A9-43A1-A1C6-F6220C0F5D92}" srcOrd="0" destOrd="0" parTransId="{A7A9DFFD-10F2-41E6-B64B-20F258ACC693}" sibTransId="{6656224C-9CDF-4741-8BA6-ED90C9AF2F7F}"/>
    <dgm:cxn modelId="{524A1A74-C449-4913-9B1E-2DE932DEAED9}" type="presOf" srcId="{4EAD5DE7-D6A9-43A1-A1C6-F6220C0F5D92}" destId="{2676364E-7EC2-4A32-BAE2-573C75C14FC6}" srcOrd="0" destOrd="0" presId="urn:microsoft.com/office/officeart/2018/2/layout/IconVerticalSolidList"/>
    <dgm:cxn modelId="{74EE91A7-2187-422F-98A5-80FE89D685F6}" srcId="{D55F98B2-EF7E-46EA-9552-2486922A9E34}" destId="{EEFB7F8C-A6AC-441F-9653-ACB8813FA43A}" srcOrd="1" destOrd="0" parTransId="{A926585B-0F0C-4ED5-BABF-A0B50CD12AA6}" sibTransId="{8C8B0D38-E0E3-4EED-BC3A-C0A3CA7A6AB6}"/>
    <dgm:cxn modelId="{E7C7B9AF-93A4-4EFA-823B-00571F010E86}" type="presOf" srcId="{EEFB7F8C-A6AC-441F-9653-ACB8813FA43A}" destId="{06C2FDAC-20D1-41E0-81F2-524D64DDAECB}" srcOrd="0" destOrd="0" presId="urn:microsoft.com/office/officeart/2018/2/layout/IconVerticalSolidList"/>
    <dgm:cxn modelId="{9C40E3C3-F988-448B-AAB9-C535CCADCB85}" type="presOf" srcId="{65FAB6ED-5245-4D10-A42A-7702CBDF05AD}" destId="{D8784603-EB2C-47BD-94D4-793C1430A71F}" srcOrd="0" destOrd="0" presId="urn:microsoft.com/office/officeart/2018/2/layout/IconVerticalSolidList"/>
    <dgm:cxn modelId="{A67B3DD6-8805-4898-AC2A-6A51BED14675}" srcId="{D55F98B2-EF7E-46EA-9552-2486922A9E34}" destId="{65FAB6ED-5245-4D10-A42A-7702CBDF05AD}" srcOrd="3" destOrd="0" parTransId="{DC772A71-4468-4CB9-87A8-D5AAA0F3B77B}" sibTransId="{8474E244-BBD0-4907-A43E-F3E58F75916C}"/>
    <dgm:cxn modelId="{D561E4E2-6349-422E-82E9-152AF8C87EE7}" srcId="{D55F98B2-EF7E-46EA-9552-2486922A9E34}" destId="{DB255AFD-AFB9-42E3-8930-6BEE0EEBE56D}" srcOrd="4" destOrd="0" parTransId="{0809D44E-27B7-4CFF-8DDC-D0FD4A1154C2}" sibTransId="{A731F28C-86FF-4524-AAA8-5D24BC423C71}"/>
    <dgm:cxn modelId="{8D19B5E5-38E9-4575-A102-C31C07776F2D}" type="presOf" srcId="{DB255AFD-AFB9-42E3-8930-6BEE0EEBE56D}" destId="{8905AEB3-1339-4BB9-A76B-7886EB6CFCB2}" srcOrd="0" destOrd="0" presId="urn:microsoft.com/office/officeart/2018/2/layout/IconVerticalSolidList"/>
    <dgm:cxn modelId="{819DCBEE-B5BC-46C7-B9AF-FB664C54C497}" srcId="{D55F98B2-EF7E-46EA-9552-2486922A9E34}" destId="{C8FB63A0-23DA-4137-A699-A92EA17B4CF1}" srcOrd="2" destOrd="0" parTransId="{5AD991F5-58D9-4A04-A383-934594C1D8DF}" sibTransId="{9EED95F2-E77F-437D-8D08-A89B30E55B0A}"/>
    <dgm:cxn modelId="{C9E03CF6-6428-4012-8B14-801EA0743D18}" type="presOf" srcId="{D55F98B2-EF7E-46EA-9552-2486922A9E34}" destId="{0DEF1EF8-68F0-46B8-8F95-F515D1470DBC}" srcOrd="0" destOrd="0" presId="urn:microsoft.com/office/officeart/2018/2/layout/IconVerticalSolidList"/>
    <dgm:cxn modelId="{19CF24F9-772F-40F0-9EA5-743A2750FCF1}" type="presOf" srcId="{C8FB63A0-23DA-4137-A699-A92EA17B4CF1}" destId="{24B970AE-EC15-4047-BDD8-A9FA13BA54D8}" srcOrd="0" destOrd="0" presId="urn:microsoft.com/office/officeart/2018/2/layout/IconVerticalSolidList"/>
    <dgm:cxn modelId="{1C962191-263F-441D-BC84-9330F2115C15}" type="presParOf" srcId="{0DEF1EF8-68F0-46B8-8F95-F515D1470DBC}" destId="{DCD61F6F-E5C6-4467-847E-1BCE4FC91CE1}" srcOrd="0" destOrd="0" presId="urn:microsoft.com/office/officeart/2018/2/layout/IconVerticalSolidList"/>
    <dgm:cxn modelId="{41D85D78-E23E-46A2-BC80-C7FCC296DA7C}" type="presParOf" srcId="{DCD61F6F-E5C6-4467-847E-1BCE4FC91CE1}" destId="{5318286F-08A3-4B75-A2B1-8540F368FC65}" srcOrd="0" destOrd="0" presId="urn:microsoft.com/office/officeart/2018/2/layout/IconVerticalSolidList"/>
    <dgm:cxn modelId="{03E70596-5DAA-43EB-86AC-66D123BC572D}" type="presParOf" srcId="{DCD61F6F-E5C6-4467-847E-1BCE4FC91CE1}" destId="{1D11C1BA-FF0B-4EBC-847F-8093FC3B38F5}" srcOrd="1" destOrd="0" presId="urn:microsoft.com/office/officeart/2018/2/layout/IconVerticalSolidList"/>
    <dgm:cxn modelId="{D044E896-F6D7-4C03-8D10-18C0FD4B0BA3}" type="presParOf" srcId="{DCD61F6F-E5C6-4467-847E-1BCE4FC91CE1}" destId="{AE158CFC-D4FA-4468-9B31-4D5E1C003AD1}" srcOrd="2" destOrd="0" presId="urn:microsoft.com/office/officeart/2018/2/layout/IconVerticalSolidList"/>
    <dgm:cxn modelId="{C36F1287-6E28-4F6D-A800-68F355ECA125}" type="presParOf" srcId="{DCD61F6F-E5C6-4467-847E-1BCE4FC91CE1}" destId="{2676364E-7EC2-4A32-BAE2-573C75C14FC6}" srcOrd="3" destOrd="0" presId="urn:microsoft.com/office/officeart/2018/2/layout/IconVerticalSolidList"/>
    <dgm:cxn modelId="{CA357DE4-A47C-4FD4-ABF5-8604AB00842D}" type="presParOf" srcId="{0DEF1EF8-68F0-46B8-8F95-F515D1470DBC}" destId="{824B7F50-A366-48F9-9A84-9E7B8CD6CC9E}" srcOrd="1" destOrd="0" presId="urn:microsoft.com/office/officeart/2018/2/layout/IconVerticalSolidList"/>
    <dgm:cxn modelId="{68AB2AE8-3F48-4323-B492-1E3A3A0DD13E}" type="presParOf" srcId="{0DEF1EF8-68F0-46B8-8F95-F515D1470DBC}" destId="{EC58067D-CCBE-48E8-9AB1-E89B7AB64ED7}" srcOrd="2" destOrd="0" presId="urn:microsoft.com/office/officeart/2018/2/layout/IconVerticalSolidList"/>
    <dgm:cxn modelId="{2C9A468E-7FF2-4E02-A8E6-F83DD6D9CDCF}" type="presParOf" srcId="{EC58067D-CCBE-48E8-9AB1-E89B7AB64ED7}" destId="{07DDC65A-A0B3-4DF1-9988-A786B9368D5B}" srcOrd="0" destOrd="0" presId="urn:microsoft.com/office/officeart/2018/2/layout/IconVerticalSolidList"/>
    <dgm:cxn modelId="{4802C244-216F-4623-B206-72EB57A09B1B}" type="presParOf" srcId="{EC58067D-CCBE-48E8-9AB1-E89B7AB64ED7}" destId="{0CAE84FC-2E69-4752-8E0A-09B2291A4E93}" srcOrd="1" destOrd="0" presId="urn:microsoft.com/office/officeart/2018/2/layout/IconVerticalSolidList"/>
    <dgm:cxn modelId="{197106D6-4429-42A1-9319-916791ABEF54}" type="presParOf" srcId="{EC58067D-CCBE-48E8-9AB1-E89B7AB64ED7}" destId="{D26D473D-2728-4287-B293-828388B7E994}" srcOrd="2" destOrd="0" presId="urn:microsoft.com/office/officeart/2018/2/layout/IconVerticalSolidList"/>
    <dgm:cxn modelId="{4248B399-DF18-416B-8B88-C61105701F7F}" type="presParOf" srcId="{EC58067D-CCBE-48E8-9AB1-E89B7AB64ED7}" destId="{06C2FDAC-20D1-41E0-81F2-524D64DDAECB}" srcOrd="3" destOrd="0" presId="urn:microsoft.com/office/officeart/2018/2/layout/IconVerticalSolidList"/>
    <dgm:cxn modelId="{74545E66-4369-4D43-99DA-5BCE977687E5}" type="presParOf" srcId="{0DEF1EF8-68F0-46B8-8F95-F515D1470DBC}" destId="{71CE51C2-8DD6-4C8F-A9BA-87597DB78528}" srcOrd="3" destOrd="0" presId="urn:microsoft.com/office/officeart/2018/2/layout/IconVerticalSolidList"/>
    <dgm:cxn modelId="{2AF589DD-A45C-4B82-AC27-0FE86BD91A0B}" type="presParOf" srcId="{0DEF1EF8-68F0-46B8-8F95-F515D1470DBC}" destId="{5CE183BD-2635-4EE5-B67A-E0268C09340E}" srcOrd="4" destOrd="0" presId="urn:microsoft.com/office/officeart/2018/2/layout/IconVerticalSolidList"/>
    <dgm:cxn modelId="{0D3A1D0D-C97D-42D7-9E7F-29666E9BBF62}" type="presParOf" srcId="{5CE183BD-2635-4EE5-B67A-E0268C09340E}" destId="{76DE2B3B-A490-4C0F-A879-61CF6DBA4B1F}" srcOrd="0" destOrd="0" presId="urn:microsoft.com/office/officeart/2018/2/layout/IconVerticalSolidList"/>
    <dgm:cxn modelId="{CEB7F36F-EFEF-431E-ABDC-84ADF283ABB0}" type="presParOf" srcId="{5CE183BD-2635-4EE5-B67A-E0268C09340E}" destId="{39AFC5F9-4BB1-4691-89E7-F5F887444BC0}" srcOrd="1" destOrd="0" presId="urn:microsoft.com/office/officeart/2018/2/layout/IconVerticalSolidList"/>
    <dgm:cxn modelId="{2A78D926-4F9B-4521-8A4D-0BBAB281A9C3}" type="presParOf" srcId="{5CE183BD-2635-4EE5-B67A-E0268C09340E}" destId="{058E2E93-12D0-454C-A1FD-AA7F08EAE612}" srcOrd="2" destOrd="0" presId="urn:microsoft.com/office/officeart/2018/2/layout/IconVerticalSolidList"/>
    <dgm:cxn modelId="{52588DB2-AE16-4742-A9D5-AA77F6FA8C59}" type="presParOf" srcId="{5CE183BD-2635-4EE5-B67A-E0268C09340E}" destId="{24B970AE-EC15-4047-BDD8-A9FA13BA54D8}" srcOrd="3" destOrd="0" presId="urn:microsoft.com/office/officeart/2018/2/layout/IconVerticalSolidList"/>
    <dgm:cxn modelId="{F3ADEE1F-5A06-49C2-92D8-182DAFDD548E}" type="presParOf" srcId="{0DEF1EF8-68F0-46B8-8F95-F515D1470DBC}" destId="{ACBD15E5-A3B4-4130-95C1-26344E344E5F}" srcOrd="5" destOrd="0" presId="urn:microsoft.com/office/officeart/2018/2/layout/IconVerticalSolidList"/>
    <dgm:cxn modelId="{DB63BE0E-9240-428C-B78B-5A0AA032B8B3}" type="presParOf" srcId="{0DEF1EF8-68F0-46B8-8F95-F515D1470DBC}" destId="{0AC26835-49CC-4572-AA57-86B4900650AF}" srcOrd="6" destOrd="0" presId="urn:microsoft.com/office/officeart/2018/2/layout/IconVerticalSolidList"/>
    <dgm:cxn modelId="{D0DD00AE-AC21-4633-8309-E978B50EFF52}" type="presParOf" srcId="{0AC26835-49CC-4572-AA57-86B4900650AF}" destId="{3AA8E565-E85D-4AB2-B1C2-2E312CCDF00E}" srcOrd="0" destOrd="0" presId="urn:microsoft.com/office/officeart/2018/2/layout/IconVerticalSolidList"/>
    <dgm:cxn modelId="{9CA47031-5F5C-4372-967E-30D136F98BDE}" type="presParOf" srcId="{0AC26835-49CC-4572-AA57-86B4900650AF}" destId="{2562C5B4-4BC5-467D-A889-D83DAE3094A3}" srcOrd="1" destOrd="0" presId="urn:microsoft.com/office/officeart/2018/2/layout/IconVerticalSolidList"/>
    <dgm:cxn modelId="{BFBF4E7A-2FA2-4A5D-8418-F471F10FED46}" type="presParOf" srcId="{0AC26835-49CC-4572-AA57-86B4900650AF}" destId="{0D2F0A9A-7142-48B0-A232-D7687FF245D1}" srcOrd="2" destOrd="0" presId="urn:microsoft.com/office/officeart/2018/2/layout/IconVerticalSolidList"/>
    <dgm:cxn modelId="{6ABE7DB5-F003-40CC-9BEB-0B514C33E3D9}" type="presParOf" srcId="{0AC26835-49CC-4572-AA57-86B4900650AF}" destId="{D8784603-EB2C-47BD-94D4-793C1430A71F}" srcOrd="3" destOrd="0" presId="urn:microsoft.com/office/officeart/2018/2/layout/IconVerticalSolidList"/>
    <dgm:cxn modelId="{42E9086C-A759-4283-9956-D6F936B1B3DC}" type="presParOf" srcId="{0DEF1EF8-68F0-46B8-8F95-F515D1470DBC}" destId="{9785CA69-9008-4E50-8AF8-986084335575}" srcOrd="7" destOrd="0" presId="urn:microsoft.com/office/officeart/2018/2/layout/IconVerticalSolidList"/>
    <dgm:cxn modelId="{35B14A91-C3A2-4407-BEEB-523FD43F4507}" type="presParOf" srcId="{0DEF1EF8-68F0-46B8-8F95-F515D1470DBC}" destId="{5A070ECE-A951-425C-A89F-878F34C6E72F}" srcOrd="8" destOrd="0" presId="urn:microsoft.com/office/officeart/2018/2/layout/IconVerticalSolidList"/>
    <dgm:cxn modelId="{6DF55775-D8D2-4CBA-8011-CC1C22B4752B}" type="presParOf" srcId="{5A070ECE-A951-425C-A89F-878F34C6E72F}" destId="{04B3C262-D1B0-4077-92F7-500741EFDB9B}" srcOrd="0" destOrd="0" presId="urn:microsoft.com/office/officeart/2018/2/layout/IconVerticalSolidList"/>
    <dgm:cxn modelId="{F8FBD889-B526-4EE7-B002-13BDC2716FBE}" type="presParOf" srcId="{5A070ECE-A951-425C-A89F-878F34C6E72F}" destId="{B68F4B11-9E27-4513-B050-77E66D56FECA}" srcOrd="1" destOrd="0" presId="urn:microsoft.com/office/officeart/2018/2/layout/IconVerticalSolidList"/>
    <dgm:cxn modelId="{D2B562C5-7FD9-4D8C-8828-F8ED7A3F45EB}" type="presParOf" srcId="{5A070ECE-A951-425C-A89F-878F34C6E72F}" destId="{B0691002-2BDB-43DD-98B0-AEE17B45CF82}" srcOrd="2" destOrd="0" presId="urn:microsoft.com/office/officeart/2018/2/layout/IconVerticalSolidList"/>
    <dgm:cxn modelId="{19C36599-281E-4A39-8B42-2B341C1EE9F4}" type="presParOf" srcId="{5A070ECE-A951-425C-A89F-878F34C6E72F}" destId="{8905AEB3-1339-4BB9-A76B-7886EB6CFCB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5F98B2-EF7E-46EA-9552-2486922A9E34}" type="doc">
      <dgm:prSet loTypeId="urn:microsoft.com/office/officeart/2018/2/layout/IconVerticalSolidList" loCatId="icon" qsTypeId="urn:microsoft.com/office/officeart/2005/8/quickstyle/simple4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4EAD5DE7-D6A9-43A1-A1C6-F6220C0F5D9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nb-NO" sz="2000" dirty="0"/>
            <a:t>Volumrabatt  - (kr 450 000)</a:t>
          </a:r>
          <a:endParaRPr lang="en-US" sz="2000" dirty="0"/>
        </a:p>
      </dgm:t>
    </dgm:pt>
    <dgm:pt modelId="{A7A9DFFD-10F2-41E6-B64B-20F258ACC693}" type="parTrans" cxnId="{98C36760-3222-4E00-9AE7-9D7816A0FE6B}">
      <dgm:prSet/>
      <dgm:spPr/>
      <dgm:t>
        <a:bodyPr/>
        <a:lstStyle/>
        <a:p>
          <a:endParaRPr lang="en-US"/>
        </a:p>
      </dgm:t>
    </dgm:pt>
    <dgm:pt modelId="{6656224C-9CDF-4741-8BA6-ED90C9AF2F7F}" type="sibTrans" cxnId="{98C36760-3222-4E00-9AE7-9D7816A0FE6B}">
      <dgm:prSet/>
      <dgm:spPr/>
      <dgm:t>
        <a:bodyPr/>
        <a:lstStyle/>
        <a:p>
          <a:endParaRPr lang="en-US"/>
        </a:p>
      </dgm:t>
    </dgm:pt>
    <dgm:pt modelId="{EEFB7F8C-A6AC-441F-9653-ACB8813FA43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nb-NO" sz="2000" dirty="0"/>
            <a:t>Gjenbruk av lisenser - (kr 150 000)</a:t>
          </a:r>
          <a:endParaRPr lang="en-US" sz="2000" dirty="0"/>
        </a:p>
      </dgm:t>
    </dgm:pt>
    <dgm:pt modelId="{A926585B-0F0C-4ED5-BABF-A0B50CD12AA6}" type="parTrans" cxnId="{74EE91A7-2187-422F-98A5-80FE89D685F6}">
      <dgm:prSet/>
      <dgm:spPr/>
      <dgm:t>
        <a:bodyPr/>
        <a:lstStyle/>
        <a:p>
          <a:endParaRPr lang="en-US"/>
        </a:p>
      </dgm:t>
    </dgm:pt>
    <dgm:pt modelId="{8C8B0D38-E0E3-4EED-BC3A-C0A3CA7A6AB6}" type="sibTrans" cxnId="{74EE91A7-2187-422F-98A5-80FE89D685F6}">
      <dgm:prSet/>
      <dgm:spPr/>
      <dgm:t>
        <a:bodyPr/>
        <a:lstStyle/>
        <a:p>
          <a:endParaRPr lang="en-US"/>
        </a:p>
      </dgm:t>
    </dgm:pt>
    <dgm:pt modelId="{65FAB6ED-5245-4D10-A42A-7702CBDF05A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nb-NO" sz="2000" dirty="0"/>
            <a:t>Låst pris for 3år – (Forutsigbart)</a:t>
          </a:r>
          <a:endParaRPr lang="en-US" sz="2000" dirty="0"/>
        </a:p>
      </dgm:t>
    </dgm:pt>
    <dgm:pt modelId="{DC772A71-4468-4CB9-87A8-D5AAA0F3B77B}" type="parTrans" cxnId="{A67B3DD6-8805-4898-AC2A-6A51BED14675}">
      <dgm:prSet/>
      <dgm:spPr/>
      <dgm:t>
        <a:bodyPr/>
        <a:lstStyle/>
        <a:p>
          <a:endParaRPr lang="en-US"/>
        </a:p>
      </dgm:t>
    </dgm:pt>
    <dgm:pt modelId="{8474E244-BBD0-4907-A43E-F3E58F75916C}" type="sibTrans" cxnId="{A67B3DD6-8805-4898-AC2A-6A51BED14675}">
      <dgm:prSet/>
      <dgm:spPr/>
      <dgm:t>
        <a:bodyPr/>
        <a:lstStyle/>
        <a:p>
          <a:endParaRPr lang="en-US"/>
        </a:p>
      </dgm:t>
    </dgm:pt>
    <dgm:pt modelId="{DB255AFD-AFB9-42E3-8930-6BEE0EEBE56D}">
      <dgm:prSet/>
      <dgm:spPr/>
      <dgm:t>
        <a:bodyPr/>
        <a:lstStyle/>
        <a:p>
          <a:pPr>
            <a:lnSpc>
              <a:spcPct val="100000"/>
            </a:lnSpc>
          </a:pPr>
          <a:r>
            <a:rPr kumimoji="0" lang="nb-NO" b="0" i="0" u="none" strike="noStrike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Ett felles årsoppgjør - (</a:t>
          </a:r>
          <a:r>
            <a:rPr lang="nb-NO"/>
            <a:t>Tidsbesparende</a:t>
          </a:r>
          <a:r>
            <a:rPr kumimoji="0" lang="nb-NO" b="0" i="0" u="none" strike="noStrike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)</a:t>
          </a:r>
          <a:endParaRPr lang="nb-NO" dirty="0"/>
        </a:p>
      </dgm:t>
    </dgm:pt>
    <dgm:pt modelId="{0809D44E-27B7-4CFF-8DDC-D0FD4A1154C2}" type="parTrans" cxnId="{D561E4E2-6349-422E-82E9-152AF8C87EE7}">
      <dgm:prSet/>
      <dgm:spPr/>
      <dgm:t>
        <a:bodyPr/>
        <a:lstStyle/>
        <a:p>
          <a:endParaRPr lang="nb-NO"/>
        </a:p>
      </dgm:t>
    </dgm:pt>
    <dgm:pt modelId="{A731F28C-86FF-4524-AAA8-5D24BC423C71}" type="sibTrans" cxnId="{D561E4E2-6349-422E-82E9-152AF8C87EE7}">
      <dgm:prSet/>
      <dgm:spPr/>
      <dgm:t>
        <a:bodyPr/>
        <a:lstStyle/>
        <a:p>
          <a:endParaRPr lang="nb-NO"/>
        </a:p>
      </dgm:t>
    </dgm:pt>
    <dgm:pt modelId="{C8FB63A0-23DA-4137-A699-A92EA17B4CF1}">
      <dgm:prSet/>
      <dgm:spPr/>
      <dgm:t>
        <a:bodyPr/>
        <a:lstStyle/>
        <a:p>
          <a:pPr>
            <a:lnSpc>
              <a:spcPct val="100000"/>
            </a:lnSpc>
          </a:pPr>
          <a:r>
            <a:rPr lang="nb-NO" dirty="0"/>
            <a:t>Administrative kostnader- (Mange bruker mindre tid)</a:t>
          </a:r>
        </a:p>
      </dgm:t>
    </dgm:pt>
    <dgm:pt modelId="{5AD991F5-58D9-4A04-A383-934594C1D8DF}" type="parTrans" cxnId="{819DCBEE-B5BC-46C7-B9AF-FB664C54C497}">
      <dgm:prSet/>
      <dgm:spPr/>
      <dgm:t>
        <a:bodyPr/>
        <a:lstStyle/>
        <a:p>
          <a:endParaRPr lang="nb-NO"/>
        </a:p>
      </dgm:t>
    </dgm:pt>
    <dgm:pt modelId="{9EED95F2-E77F-437D-8D08-A89B30E55B0A}" type="sibTrans" cxnId="{819DCBEE-B5BC-46C7-B9AF-FB664C54C497}">
      <dgm:prSet/>
      <dgm:spPr/>
      <dgm:t>
        <a:bodyPr/>
        <a:lstStyle/>
        <a:p>
          <a:endParaRPr lang="nb-NO"/>
        </a:p>
      </dgm:t>
    </dgm:pt>
    <dgm:pt modelId="{0DEF1EF8-68F0-46B8-8F95-F515D1470DBC}" type="pres">
      <dgm:prSet presAssocID="{D55F98B2-EF7E-46EA-9552-2486922A9E34}" presName="root" presStyleCnt="0">
        <dgm:presLayoutVars>
          <dgm:dir/>
          <dgm:resizeHandles val="exact"/>
        </dgm:presLayoutVars>
      </dgm:prSet>
      <dgm:spPr/>
    </dgm:pt>
    <dgm:pt modelId="{DCD61F6F-E5C6-4467-847E-1BCE4FC91CE1}" type="pres">
      <dgm:prSet presAssocID="{4EAD5DE7-D6A9-43A1-A1C6-F6220C0F5D92}" presName="compNode" presStyleCnt="0"/>
      <dgm:spPr/>
    </dgm:pt>
    <dgm:pt modelId="{5318286F-08A3-4B75-A2B1-8540F368FC65}" type="pres">
      <dgm:prSet presAssocID="{4EAD5DE7-D6A9-43A1-A1C6-F6220C0F5D92}" presName="bgRect" presStyleLbl="bgShp" presStyleIdx="0" presStyleCnt="5" custLinFactNeighborX="-19627" custLinFactNeighborY="-43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1D11C1BA-FF0B-4EBC-847F-8093FC3B38F5}" type="pres">
      <dgm:prSet presAssocID="{4EAD5DE7-D6A9-43A1-A1C6-F6220C0F5D92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</dgm:pt>
    <dgm:pt modelId="{AE158CFC-D4FA-4468-9B31-4D5E1C003AD1}" type="pres">
      <dgm:prSet presAssocID="{4EAD5DE7-D6A9-43A1-A1C6-F6220C0F5D92}" presName="spaceRect" presStyleCnt="0"/>
      <dgm:spPr/>
    </dgm:pt>
    <dgm:pt modelId="{2676364E-7EC2-4A32-BAE2-573C75C14FC6}" type="pres">
      <dgm:prSet presAssocID="{4EAD5DE7-D6A9-43A1-A1C6-F6220C0F5D92}" presName="parTx" presStyleLbl="revTx" presStyleIdx="0" presStyleCnt="5">
        <dgm:presLayoutVars>
          <dgm:chMax val="0"/>
          <dgm:chPref val="0"/>
        </dgm:presLayoutVars>
      </dgm:prSet>
      <dgm:spPr/>
    </dgm:pt>
    <dgm:pt modelId="{824B7F50-A366-48F9-9A84-9E7B8CD6CC9E}" type="pres">
      <dgm:prSet presAssocID="{6656224C-9CDF-4741-8BA6-ED90C9AF2F7F}" presName="sibTrans" presStyleCnt="0"/>
      <dgm:spPr/>
    </dgm:pt>
    <dgm:pt modelId="{EC58067D-CCBE-48E8-9AB1-E89B7AB64ED7}" type="pres">
      <dgm:prSet presAssocID="{EEFB7F8C-A6AC-441F-9653-ACB8813FA43A}" presName="compNode" presStyleCnt="0"/>
      <dgm:spPr/>
    </dgm:pt>
    <dgm:pt modelId="{07DDC65A-A0B3-4DF1-9988-A786B9368D5B}" type="pres">
      <dgm:prSet presAssocID="{EEFB7F8C-A6AC-441F-9653-ACB8813FA43A}" presName="bgRect" presStyleLbl="bgShp" presStyleIdx="1" presStyleCnt="5" custLinFactNeighborY="-284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0CAE84FC-2E69-4752-8E0A-09B2291A4E93}" type="pres">
      <dgm:prSet presAssocID="{EEFB7F8C-A6AC-441F-9653-ACB8813FA43A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ecycle outline"/>
        </a:ext>
      </dgm:extLst>
    </dgm:pt>
    <dgm:pt modelId="{D26D473D-2728-4287-B293-828388B7E994}" type="pres">
      <dgm:prSet presAssocID="{EEFB7F8C-A6AC-441F-9653-ACB8813FA43A}" presName="spaceRect" presStyleCnt="0"/>
      <dgm:spPr/>
    </dgm:pt>
    <dgm:pt modelId="{06C2FDAC-20D1-41E0-81F2-524D64DDAECB}" type="pres">
      <dgm:prSet presAssocID="{EEFB7F8C-A6AC-441F-9653-ACB8813FA43A}" presName="parTx" presStyleLbl="revTx" presStyleIdx="1" presStyleCnt="5">
        <dgm:presLayoutVars>
          <dgm:chMax val="0"/>
          <dgm:chPref val="0"/>
        </dgm:presLayoutVars>
      </dgm:prSet>
      <dgm:spPr/>
    </dgm:pt>
    <dgm:pt modelId="{71CE51C2-8DD6-4C8F-A9BA-87597DB78528}" type="pres">
      <dgm:prSet presAssocID="{8C8B0D38-E0E3-4EED-BC3A-C0A3CA7A6AB6}" presName="sibTrans" presStyleCnt="0"/>
      <dgm:spPr/>
    </dgm:pt>
    <dgm:pt modelId="{5CE183BD-2635-4EE5-B67A-E0268C09340E}" type="pres">
      <dgm:prSet presAssocID="{C8FB63A0-23DA-4137-A699-A92EA17B4CF1}" presName="compNode" presStyleCnt="0"/>
      <dgm:spPr/>
    </dgm:pt>
    <dgm:pt modelId="{76DE2B3B-A490-4C0F-A879-61CF6DBA4B1F}" type="pres">
      <dgm:prSet presAssocID="{C8FB63A0-23DA-4137-A699-A92EA17B4CF1}" presName="bgRect" presStyleLbl="bgShp" presStyleIdx="2" presStyleCnt="5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39AFC5F9-4BB1-4691-89E7-F5F887444BC0}" type="pres">
      <dgm:prSet presAssocID="{C8FB63A0-23DA-4137-A699-A92EA17B4CF1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Klokke kontur"/>
        </a:ext>
      </dgm:extLst>
    </dgm:pt>
    <dgm:pt modelId="{058E2E93-12D0-454C-A1FD-AA7F08EAE612}" type="pres">
      <dgm:prSet presAssocID="{C8FB63A0-23DA-4137-A699-A92EA17B4CF1}" presName="spaceRect" presStyleCnt="0"/>
      <dgm:spPr/>
    </dgm:pt>
    <dgm:pt modelId="{24B970AE-EC15-4047-BDD8-A9FA13BA54D8}" type="pres">
      <dgm:prSet presAssocID="{C8FB63A0-23DA-4137-A699-A92EA17B4CF1}" presName="parTx" presStyleLbl="revTx" presStyleIdx="2" presStyleCnt="5">
        <dgm:presLayoutVars>
          <dgm:chMax val="0"/>
          <dgm:chPref val="0"/>
        </dgm:presLayoutVars>
      </dgm:prSet>
      <dgm:spPr/>
    </dgm:pt>
    <dgm:pt modelId="{ACBD15E5-A3B4-4130-95C1-26344E344E5F}" type="pres">
      <dgm:prSet presAssocID="{9EED95F2-E77F-437D-8D08-A89B30E55B0A}" presName="sibTrans" presStyleCnt="0"/>
      <dgm:spPr/>
    </dgm:pt>
    <dgm:pt modelId="{0AC26835-49CC-4572-AA57-86B4900650AF}" type="pres">
      <dgm:prSet presAssocID="{65FAB6ED-5245-4D10-A42A-7702CBDF05AD}" presName="compNode" presStyleCnt="0"/>
      <dgm:spPr/>
    </dgm:pt>
    <dgm:pt modelId="{3AA8E565-E85D-4AB2-B1C2-2E312CCDF00E}" type="pres">
      <dgm:prSet presAssocID="{65FAB6ED-5245-4D10-A42A-7702CBDF05AD}" presName="bgRect" presStyleLbl="bgShp" presStyleIdx="3" presStyleCnt="5" custLinFactNeighborX="295" custLinFactNeighborY="-2642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2562C5B4-4BC5-467D-A889-D83DAE3094A3}" type="pres">
      <dgm:prSet presAssocID="{65FAB6ED-5245-4D10-A42A-7702CBDF05AD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Lock outline"/>
        </a:ext>
      </dgm:extLst>
    </dgm:pt>
    <dgm:pt modelId="{0D2F0A9A-7142-48B0-A232-D7687FF245D1}" type="pres">
      <dgm:prSet presAssocID="{65FAB6ED-5245-4D10-A42A-7702CBDF05AD}" presName="spaceRect" presStyleCnt="0"/>
      <dgm:spPr/>
    </dgm:pt>
    <dgm:pt modelId="{D8784603-EB2C-47BD-94D4-793C1430A71F}" type="pres">
      <dgm:prSet presAssocID="{65FAB6ED-5245-4D10-A42A-7702CBDF05AD}" presName="parTx" presStyleLbl="revTx" presStyleIdx="3" presStyleCnt="5">
        <dgm:presLayoutVars>
          <dgm:chMax val="0"/>
          <dgm:chPref val="0"/>
        </dgm:presLayoutVars>
      </dgm:prSet>
      <dgm:spPr/>
    </dgm:pt>
    <dgm:pt modelId="{9785CA69-9008-4E50-8AF8-986084335575}" type="pres">
      <dgm:prSet presAssocID="{8474E244-BBD0-4907-A43E-F3E58F75916C}" presName="sibTrans" presStyleCnt="0"/>
      <dgm:spPr/>
    </dgm:pt>
    <dgm:pt modelId="{5A070ECE-A951-425C-A89F-878F34C6E72F}" type="pres">
      <dgm:prSet presAssocID="{DB255AFD-AFB9-42E3-8930-6BEE0EEBE56D}" presName="compNode" presStyleCnt="0"/>
      <dgm:spPr/>
    </dgm:pt>
    <dgm:pt modelId="{04B3C262-D1B0-4077-92F7-500741EFDB9B}" type="pres">
      <dgm:prSet presAssocID="{DB255AFD-AFB9-42E3-8930-6BEE0EEBE56D}" presName="bgRect" presStyleLbl="bgShp" presStyleIdx="4" presStyleCnt="5" custScaleY="103939"/>
      <dgm:spPr>
        <a:solidFill>
          <a:schemeClr val="accent4"/>
        </a:solidFill>
        <a:effectLst>
          <a:innerShdw blurRad="114300">
            <a:prstClr val="black"/>
          </a:innerShdw>
        </a:effectLst>
      </dgm:spPr>
    </dgm:pt>
    <dgm:pt modelId="{B68F4B11-9E27-4513-B050-77E66D56FECA}" type="pres">
      <dgm:prSet presAssocID="{DB255AFD-AFB9-42E3-8930-6BEE0EEBE56D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imeglass fullt kontur"/>
        </a:ext>
      </dgm:extLst>
    </dgm:pt>
    <dgm:pt modelId="{B0691002-2BDB-43DD-98B0-AEE17B45CF82}" type="pres">
      <dgm:prSet presAssocID="{DB255AFD-AFB9-42E3-8930-6BEE0EEBE56D}" presName="spaceRect" presStyleCnt="0"/>
      <dgm:spPr/>
    </dgm:pt>
    <dgm:pt modelId="{8905AEB3-1339-4BB9-A76B-7886EB6CFCB2}" type="pres">
      <dgm:prSet presAssocID="{DB255AFD-AFB9-42E3-8930-6BEE0EEBE56D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98C36760-3222-4E00-9AE7-9D7816A0FE6B}" srcId="{D55F98B2-EF7E-46EA-9552-2486922A9E34}" destId="{4EAD5DE7-D6A9-43A1-A1C6-F6220C0F5D92}" srcOrd="0" destOrd="0" parTransId="{A7A9DFFD-10F2-41E6-B64B-20F258ACC693}" sibTransId="{6656224C-9CDF-4741-8BA6-ED90C9AF2F7F}"/>
    <dgm:cxn modelId="{524A1A74-C449-4913-9B1E-2DE932DEAED9}" type="presOf" srcId="{4EAD5DE7-D6A9-43A1-A1C6-F6220C0F5D92}" destId="{2676364E-7EC2-4A32-BAE2-573C75C14FC6}" srcOrd="0" destOrd="0" presId="urn:microsoft.com/office/officeart/2018/2/layout/IconVerticalSolidList"/>
    <dgm:cxn modelId="{74EE91A7-2187-422F-98A5-80FE89D685F6}" srcId="{D55F98B2-EF7E-46EA-9552-2486922A9E34}" destId="{EEFB7F8C-A6AC-441F-9653-ACB8813FA43A}" srcOrd="1" destOrd="0" parTransId="{A926585B-0F0C-4ED5-BABF-A0B50CD12AA6}" sibTransId="{8C8B0D38-E0E3-4EED-BC3A-C0A3CA7A6AB6}"/>
    <dgm:cxn modelId="{E7C7B9AF-93A4-4EFA-823B-00571F010E86}" type="presOf" srcId="{EEFB7F8C-A6AC-441F-9653-ACB8813FA43A}" destId="{06C2FDAC-20D1-41E0-81F2-524D64DDAECB}" srcOrd="0" destOrd="0" presId="urn:microsoft.com/office/officeart/2018/2/layout/IconVerticalSolidList"/>
    <dgm:cxn modelId="{9C40E3C3-F988-448B-AAB9-C535CCADCB85}" type="presOf" srcId="{65FAB6ED-5245-4D10-A42A-7702CBDF05AD}" destId="{D8784603-EB2C-47BD-94D4-793C1430A71F}" srcOrd="0" destOrd="0" presId="urn:microsoft.com/office/officeart/2018/2/layout/IconVerticalSolidList"/>
    <dgm:cxn modelId="{A67B3DD6-8805-4898-AC2A-6A51BED14675}" srcId="{D55F98B2-EF7E-46EA-9552-2486922A9E34}" destId="{65FAB6ED-5245-4D10-A42A-7702CBDF05AD}" srcOrd="3" destOrd="0" parTransId="{DC772A71-4468-4CB9-87A8-D5AAA0F3B77B}" sibTransId="{8474E244-BBD0-4907-A43E-F3E58F75916C}"/>
    <dgm:cxn modelId="{D561E4E2-6349-422E-82E9-152AF8C87EE7}" srcId="{D55F98B2-EF7E-46EA-9552-2486922A9E34}" destId="{DB255AFD-AFB9-42E3-8930-6BEE0EEBE56D}" srcOrd="4" destOrd="0" parTransId="{0809D44E-27B7-4CFF-8DDC-D0FD4A1154C2}" sibTransId="{A731F28C-86FF-4524-AAA8-5D24BC423C71}"/>
    <dgm:cxn modelId="{8D19B5E5-38E9-4575-A102-C31C07776F2D}" type="presOf" srcId="{DB255AFD-AFB9-42E3-8930-6BEE0EEBE56D}" destId="{8905AEB3-1339-4BB9-A76B-7886EB6CFCB2}" srcOrd="0" destOrd="0" presId="urn:microsoft.com/office/officeart/2018/2/layout/IconVerticalSolidList"/>
    <dgm:cxn modelId="{819DCBEE-B5BC-46C7-B9AF-FB664C54C497}" srcId="{D55F98B2-EF7E-46EA-9552-2486922A9E34}" destId="{C8FB63A0-23DA-4137-A699-A92EA17B4CF1}" srcOrd="2" destOrd="0" parTransId="{5AD991F5-58D9-4A04-A383-934594C1D8DF}" sibTransId="{9EED95F2-E77F-437D-8D08-A89B30E55B0A}"/>
    <dgm:cxn modelId="{C9E03CF6-6428-4012-8B14-801EA0743D18}" type="presOf" srcId="{D55F98B2-EF7E-46EA-9552-2486922A9E34}" destId="{0DEF1EF8-68F0-46B8-8F95-F515D1470DBC}" srcOrd="0" destOrd="0" presId="urn:microsoft.com/office/officeart/2018/2/layout/IconVerticalSolidList"/>
    <dgm:cxn modelId="{19CF24F9-772F-40F0-9EA5-743A2750FCF1}" type="presOf" srcId="{C8FB63A0-23DA-4137-A699-A92EA17B4CF1}" destId="{24B970AE-EC15-4047-BDD8-A9FA13BA54D8}" srcOrd="0" destOrd="0" presId="urn:microsoft.com/office/officeart/2018/2/layout/IconVerticalSolidList"/>
    <dgm:cxn modelId="{1C962191-263F-441D-BC84-9330F2115C15}" type="presParOf" srcId="{0DEF1EF8-68F0-46B8-8F95-F515D1470DBC}" destId="{DCD61F6F-E5C6-4467-847E-1BCE4FC91CE1}" srcOrd="0" destOrd="0" presId="urn:microsoft.com/office/officeart/2018/2/layout/IconVerticalSolidList"/>
    <dgm:cxn modelId="{41D85D78-E23E-46A2-BC80-C7FCC296DA7C}" type="presParOf" srcId="{DCD61F6F-E5C6-4467-847E-1BCE4FC91CE1}" destId="{5318286F-08A3-4B75-A2B1-8540F368FC65}" srcOrd="0" destOrd="0" presId="urn:microsoft.com/office/officeart/2018/2/layout/IconVerticalSolidList"/>
    <dgm:cxn modelId="{03E70596-5DAA-43EB-86AC-66D123BC572D}" type="presParOf" srcId="{DCD61F6F-E5C6-4467-847E-1BCE4FC91CE1}" destId="{1D11C1BA-FF0B-4EBC-847F-8093FC3B38F5}" srcOrd="1" destOrd="0" presId="urn:microsoft.com/office/officeart/2018/2/layout/IconVerticalSolidList"/>
    <dgm:cxn modelId="{D044E896-F6D7-4C03-8D10-18C0FD4B0BA3}" type="presParOf" srcId="{DCD61F6F-E5C6-4467-847E-1BCE4FC91CE1}" destId="{AE158CFC-D4FA-4468-9B31-4D5E1C003AD1}" srcOrd="2" destOrd="0" presId="urn:microsoft.com/office/officeart/2018/2/layout/IconVerticalSolidList"/>
    <dgm:cxn modelId="{C36F1287-6E28-4F6D-A800-68F355ECA125}" type="presParOf" srcId="{DCD61F6F-E5C6-4467-847E-1BCE4FC91CE1}" destId="{2676364E-7EC2-4A32-BAE2-573C75C14FC6}" srcOrd="3" destOrd="0" presId="urn:microsoft.com/office/officeart/2018/2/layout/IconVerticalSolidList"/>
    <dgm:cxn modelId="{CA357DE4-A47C-4FD4-ABF5-8604AB00842D}" type="presParOf" srcId="{0DEF1EF8-68F0-46B8-8F95-F515D1470DBC}" destId="{824B7F50-A366-48F9-9A84-9E7B8CD6CC9E}" srcOrd="1" destOrd="0" presId="urn:microsoft.com/office/officeart/2018/2/layout/IconVerticalSolidList"/>
    <dgm:cxn modelId="{68AB2AE8-3F48-4323-B492-1E3A3A0DD13E}" type="presParOf" srcId="{0DEF1EF8-68F0-46B8-8F95-F515D1470DBC}" destId="{EC58067D-CCBE-48E8-9AB1-E89B7AB64ED7}" srcOrd="2" destOrd="0" presId="urn:microsoft.com/office/officeart/2018/2/layout/IconVerticalSolidList"/>
    <dgm:cxn modelId="{2C9A468E-7FF2-4E02-A8E6-F83DD6D9CDCF}" type="presParOf" srcId="{EC58067D-CCBE-48E8-9AB1-E89B7AB64ED7}" destId="{07DDC65A-A0B3-4DF1-9988-A786B9368D5B}" srcOrd="0" destOrd="0" presId="urn:microsoft.com/office/officeart/2018/2/layout/IconVerticalSolidList"/>
    <dgm:cxn modelId="{4802C244-216F-4623-B206-72EB57A09B1B}" type="presParOf" srcId="{EC58067D-CCBE-48E8-9AB1-E89B7AB64ED7}" destId="{0CAE84FC-2E69-4752-8E0A-09B2291A4E93}" srcOrd="1" destOrd="0" presId="urn:microsoft.com/office/officeart/2018/2/layout/IconVerticalSolidList"/>
    <dgm:cxn modelId="{197106D6-4429-42A1-9319-916791ABEF54}" type="presParOf" srcId="{EC58067D-CCBE-48E8-9AB1-E89B7AB64ED7}" destId="{D26D473D-2728-4287-B293-828388B7E994}" srcOrd="2" destOrd="0" presId="urn:microsoft.com/office/officeart/2018/2/layout/IconVerticalSolidList"/>
    <dgm:cxn modelId="{4248B399-DF18-416B-8B88-C61105701F7F}" type="presParOf" srcId="{EC58067D-CCBE-48E8-9AB1-E89B7AB64ED7}" destId="{06C2FDAC-20D1-41E0-81F2-524D64DDAECB}" srcOrd="3" destOrd="0" presId="urn:microsoft.com/office/officeart/2018/2/layout/IconVerticalSolidList"/>
    <dgm:cxn modelId="{74545E66-4369-4D43-99DA-5BCE977687E5}" type="presParOf" srcId="{0DEF1EF8-68F0-46B8-8F95-F515D1470DBC}" destId="{71CE51C2-8DD6-4C8F-A9BA-87597DB78528}" srcOrd="3" destOrd="0" presId="urn:microsoft.com/office/officeart/2018/2/layout/IconVerticalSolidList"/>
    <dgm:cxn modelId="{2AF589DD-A45C-4B82-AC27-0FE86BD91A0B}" type="presParOf" srcId="{0DEF1EF8-68F0-46B8-8F95-F515D1470DBC}" destId="{5CE183BD-2635-4EE5-B67A-E0268C09340E}" srcOrd="4" destOrd="0" presId="urn:microsoft.com/office/officeart/2018/2/layout/IconVerticalSolidList"/>
    <dgm:cxn modelId="{0D3A1D0D-C97D-42D7-9E7F-29666E9BBF62}" type="presParOf" srcId="{5CE183BD-2635-4EE5-B67A-E0268C09340E}" destId="{76DE2B3B-A490-4C0F-A879-61CF6DBA4B1F}" srcOrd="0" destOrd="0" presId="urn:microsoft.com/office/officeart/2018/2/layout/IconVerticalSolidList"/>
    <dgm:cxn modelId="{CEB7F36F-EFEF-431E-ABDC-84ADF283ABB0}" type="presParOf" srcId="{5CE183BD-2635-4EE5-B67A-E0268C09340E}" destId="{39AFC5F9-4BB1-4691-89E7-F5F887444BC0}" srcOrd="1" destOrd="0" presId="urn:microsoft.com/office/officeart/2018/2/layout/IconVerticalSolidList"/>
    <dgm:cxn modelId="{2A78D926-4F9B-4521-8A4D-0BBAB281A9C3}" type="presParOf" srcId="{5CE183BD-2635-4EE5-B67A-E0268C09340E}" destId="{058E2E93-12D0-454C-A1FD-AA7F08EAE612}" srcOrd="2" destOrd="0" presId="urn:microsoft.com/office/officeart/2018/2/layout/IconVerticalSolidList"/>
    <dgm:cxn modelId="{52588DB2-AE16-4742-A9D5-AA77F6FA8C59}" type="presParOf" srcId="{5CE183BD-2635-4EE5-B67A-E0268C09340E}" destId="{24B970AE-EC15-4047-BDD8-A9FA13BA54D8}" srcOrd="3" destOrd="0" presId="urn:microsoft.com/office/officeart/2018/2/layout/IconVerticalSolidList"/>
    <dgm:cxn modelId="{F3ADEE1F-5A06-49C2-92D8-182DAFDD548E}" type="presParOf" srcId="{0DEF1EF8-68F0-46B8-8F95-F515D1470DBC}" destId="{ACBD15E5-A3B4-4130-95C1-26344E344E5F}" srcOrd="5" destOrd="0" presId="urn:microsoft.com/office/officeart/2018/2/layout/IconVerticalSolidList"/>
    <dgm:cxn modelId="{DB63BE0E-9240-428C-B78B-5A0AA032B8B3}" type="presParOf" srcId="{0DEF1EF8-68F0-46B8-8F95-F515D1470DBC}" destId="{0AC26835-49CC-4572-AA57-86B4900650AF}" srcOrd="6" destOrd="0" presId="urn:microsoft.com/office/officeart/2018/2/layout/IconVerticalSolidList"/>
    <dgm:cxn modelId="{D0DD00AE-AC21-4633-8309-E978B50EFF52}" type="presParOf" srcId="{0AC26835-49CC-4572-AA57-86B4900650AF}" destId="{3AA8E565-E85D-4AB2-B1C2-2E312CCDF00E}" srcOrd="0" destOrd="0" presId="urn:microsoft.com/office/officeart/2018/2/layout/IconVerticalSolidList"/>
    <dgm:cxn modelId="{9CA47031-5F5C-4372-967E-30D136F98BDE}" type="presParOf" srcId="{0AC26835-49CC-4572-AA57-86B4900650AF}" destId="{2562C5B4-4BC5-467D-A889-D83DAE3094A3}" srcOrd="1" destOrd="0" presId="urn:microsoft.com/office/officeart/2018/2/layout/IconVerticalSolidList"/>
    <dgm:cxn modelId="{BFBF4E7A-2FA2-4A5D-8418-F471F10FED46}" type="presParOf" srcId="{0AC26835-49CC-4572-AA57-86B4900650AF}" destId="{0D2F0A9A-7142-48B0-A232-D7687FF245D1}" srcOrd="2" destOrd="0" presId="urn:microsoft.com/office/officeart/2018/2/layout/IconVerticalSolidList"/>
    <dgm:cxn modelId="{6ABE7DB5-F003-40CC-9BEB-0B514C33E3D9}" type="presParOf" srcId="{0AC26835-49CC-4572-AA57-86B4900650AF}" destId="{D8784603-EB2C-47BD-94D4-793C1430A71F}" srcOrd="3" destOrd="0" presId="urn:microsoft.com/office/officeart/2018/2/layout/IconVerticalSolidList"/>
    <dgm:cxn modelId="{42E9086C-A759-4283-9956-D6F936B1B3DC}" type="presParOf" srcId="{0DEF1EF8-68F0-46B8-8F95-F515D1470DBC}" destId="{9785CA69-9008-4E50-8AF8-986084335575}" srcOrd="7" destOrd="0" presId="urn:microsoft.com/office/officeart/2018/2/layout/IconVerticalSolidList"/>
    <dgm:cxn modelId="{35B14A91-C3A2-4407-BEEB-523FD43F4507}" type="presParOf" srcId="{0DEF1EF8-68F0-46B8-8F95-F515D1470DBC}" destId="{5A070ECE-A951-425C-A89F-878F34C6E72F}" srcOrd="8" destOrd="0" presId="urn:microsoft.com/office/officeart/2018/2/layout/IconVerticalSolidList"/>
    <dgm:cxn modelId="{6DF55775-D8D2-4CBA-8011-CC1C22B4752B}" type="presParOf" srcId="{5A070ECE-A951-425C-A89F-878F34C6E72F}" destId="{04B3C262-D1B0-4077-92F7-500741EFDB9B}" srcOrd="0" destOrd="0" presId="urn:microsoft.com/office/officeart/2018/2/layout/IconVerticalSolidList"/>
    <dgm:cxn modelId="{F8FBD889-B526-4EE7-B002-13BDC2716FBE}" type="presParOf" srcId="{5A070ECE-A951-425C-A89F-878F34C6E72F}" destId="{B68F4B11-9E27-4513-B050-77E66D56FECA}" srcOrd="1" destOrd="0" presId="urn:microsoft.com/office/officeart/2018/2/layout/IconVerticalSolidList"/>
    <dgm:cxn modelId="{D2B562C5-7FD9-4D8C-8828-F8ED7A3F45EB}" type="presParOf" srcId="{5A070ECE-A951-425C-A89F-878F34C6E72F}" destId="{B0691002-2BDB-43DD-98B0-AEE17B45CF82}" srcOrd="2" destOrd="0" presId="urn:microsoft.com/office/officeart/2018/2/layout/IconVerticalSolidList"/>
    <dgm:cxn modelId="{19C36599-281E-4A39-8B42-2B341C1EE9F4}" type="presParOf" srcId="{5A070ECE-A951-425C-A89F-878F34C6E72F}" destId="{8905AEB3-1339-4BB9-A76B-7886EB6CFCB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18286F-08A3-4B75-A2B1-8540F368FC65}">
      <dsp:nvSpPr>
        <dsp:cNvPr id="0" name=""/>
        <dsp:cNvSpPr/>
      </dsp:nvSpPr>
      <dsp:spPr>
        <a:xfrm>
          <a:off x="0" y="9954"/>
          <a:ext cx="11471909" cy="81366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D11C1BA-FF0B-4EBC-847F-8093FC3B38F5}">
      <dsp:nvSpPr>
        <dsp:cNvPr id="0" name=""/>
        <dsp:cNvSpPr/>
      </dsp:nvSpPr>
      <dsp:spPr>
        <a:xfrm>
          <a:off x="246134" y="183851"/>
          <a:ext cx="447516" cy="44751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676364E-7EC2-4A32-BAE2-573C75C14FC6}">
      <dsp:nvSpPr>
        <dsp:cNvPr id="0" name=""/>
        <dsp:cNvSpPr/>
      </dsp:nvSpPr>
      <dsp:spPr>
        <a:xfrm>
          <a:off x="939784" y="776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Volumrabatt  - (kr 450 000)</a:t>
          </a:r>
          <a:endParaRPr lang="en-US" sz="2000" kern="1200" dirty="0"/>
        </a:p>
      </dsp:txBody>
      <dsp:txXfrm>
        <a:off x="939784" y="776"/>
        <a:ext cx="10532124" cy="813666"/>
      </dsp:txXfrm>
    </dsp:sp>
    <dsp:sp modelId="{07DDC65A-A0B3-4DF1-9988-A786B9368D5B}">
      <dsp:nvSpPr>
        <dsp:cNvPr id="0" name=""/>
        <dsp:cNvSpPr/>
      </dsp:nvSpPr>
      <dsp:spPr>
        <a:xfrm>
          <a:off x="0" y="1015548"/>
          <a:ext cx="11471909" cy="81366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CAE84FC-2E69-4752-8E0A-09B2291A4E93}">
      <dsp:nvSpPr>
        <dsp:cNvPr id="0" name=""/>
        <dsp:cNvSpPr/>
      </dsp:nvSpPr>
      <dsp:spPr>
        <a:xfrm>
          <a:off x="246134" y="1200934"/>
          <a:ext cx="447516" cy="44751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6C2FDAC-20D1-41E0-81F2-524D64DDAECB}">
      <dsp:nvSpPr>
        <dsp:cNvPr id="0" name=""/>
        <dsp:cNvSpPr/>
      </dsp:nvSpPr>
      <dsp:spPr>
        <a:xfrm>
          <a:off x="939784" y="1017859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Gjenbruk av lisenser - (kr 150 000)</a:t>
          </a:r>
          <a:endParaRPr lang="en-US" sz="2000" kern="1200" dirty="0"/>
        </a:p>
      </dsp:txBody>
      <dsp:txXfrm>
        <a:off x="939784" y="1017859"/>
        <a:ext cx="10532124" cy="813666"/>
      </dsp:txXfrm>
    </dsp:sp>
    <dsp:sp modelId="{76DE2B3B-A490-4C0F-A879-61CF6DBA4B1F}">
      <dsp:nvSpPr>
        <dsp:cNvPr id="0" name=""/>
        <dsp:cNvSpPr/>
      </dsp:nvSpPr>
      <dsp:spPr>
        <a:xfrm>
          <a:off x="0" y="2034942"/>
          <a:ext cx="11471909" cy="81366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9AFC5F9-4BB1-4691-89E7-F5F887444BC0}">
      <dsp:nvSpPr>
        <dsp:cNvPr id="0" name=""/>
        <dsp:cNvSpPr/>
      </dsp:nvSpPr>
      <dsp:spPr>
        <a:xfrm>
          <a:off x="246134" y="2218017"/>
          <a:ext cx="447516" cy="44751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4B970AE-EC15-4047-BDD8-A9FA13BA54D8}">
      <dsp:nvSpPr>
        <dsp:cNvPr id="0" name=""/>
        <dsp:cNvSpPr/>
      </dsp:nvSpPr>
      <dsp:spPr>
        <a:xfrm>
          <a:off x="939784" y="2034942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900" kern="1200" dirty="0"/>
            <a:t>Administrative kostnader - (Mange bruker mindre tid)</a:t>
          </a:r>
        </a:p>
      </dsp:txBody>
      <dsp:txXfrm>
        <a:off x="939784" y="2034942"/>
        <a:ext cx="10532124" cy="813666"/>
      </dsp:txXfrm>
    </dsp:sp>
    <dsp:sp modelId="{3AA8E565-E85D-4AB2-B1C2-2E312CCDF00E}">
      <dsp:nvSpPr>
        <dsp:cNvPr id="0" name=""/>
        <dsp:cNvSpPr/>
      </dsp:nvSpPr>
      <dsp:spPr>
        <a:xfrm>
          <a:off x="0" y="3030528"/>
          <a:ext cx="11471909" cy="81366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562C5B4-4BC5-467D-A889-D83DAE3094A3}">
      <dsp:nvSpPr>
        <dsp:cNvPr id="0" name=""/>
        <dsp:cNvSpPr/>
      </dsp:nvSpPr>
      <dsp:spPr>
        <a:xfrm>
          <a:off x="246134" y="3235100"/>
          <a:ext cx="447516" cy="44751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8784603-EB2C-47BD-94D4-793C1430A71F}">
      <dsp:nvSpPr>
        <dsp:cNvPr id="0" name=""/>
        <dsp:cNvSpPr/>
      </dsp:nvSpPr>
      <dsp:spPr>
        <a:xfrm>
          <a:off x="939784" y="3052025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Låst pris for 3år – (Forutsigbart)</a:t>
          </a:r>
          <a:endParaRPr lang="en-US" sz="2000" kern="1200" dirty="0"/>
        </a:p>
      </dsp:txBody>
      <dsp:txXfrm>
        <a:off x="939784" y="3052025"/>
        <a:ext cx="10532124" cy="813666"/>
      </dsp:txXfrm>
    </dsp:sp>
    <dsp:sp modelId="{04B3C262-D1B0-4077-92F7-500741EFDB9B}">
      <dsp:nvSpPr>
        <dsp:cNvPr id="0" name=""/>
        <dsp:cNvSpPr/>
      </dsp:nvSpPr>
      <dsp:spPr>
        <a:xfrm>
          <a:off x="0" y="4069108"/>
          <a:ext cx="11471909" cy="84571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68F4B11-9E27-4513-B050-77E66D56FECA}">
      <dsp:nvSpPr>
        <dsp:cNvPr id="0" name=""/>
        <dsp:cNvSpPr/>
      </dsp:nvSpPr>
      <dsp:spPr>
        <a:xfrm>
          <a:off x="246134" y="4268208"/>
          <a:ext cx="447516" cy="44751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905AEB3-1339-4BB9-A76B-7886EB6CFCB2}">
      <dsp:nvSpPr>
        <dsp:cNvPr id="0" name=""/>
        <dsp:cNvSpPr/>
      </dsp:nvSpPr>
      <dsp:spPr>
        <a:xfrm>
          <a:off x="939784" y="4085133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nb-NO" sz="1900" b="0" i="0" u="none" strike="noStrike" kern="1200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Ett felles årsoppgjør - (</a:t>
          </a:r>
          <a:r>
            <a:rPr lang="nb-NO" sz="1900" kern="1200"/>
            <a:t>Tidsbesparende</a:t>
          </a:r>
          <a:r>
            <a:rPr kumimoji="0" lang="nb-NO" sz="1900" b="0" i="0" u="none" strike="noStrike" kern="1200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)</a:t>
          </a:r>
          <a:endParaRPr lang="nb-NO" sz="1900" kern="1200" dirty="0"/>
        </a:p>
      </dsp:txBody>
      <dsp:txXfrm>
        <a:off x="939784" y="4085133"/>
        <a:ext cx="10532124" cy="8136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18286F-08A3-4B75-A2B1-8540F368FC65}">
      <dsp:nvSpPr>
        <dsp:cNvPr id="0" name=""/>
        <dsp:cNvSpPr/>
      </dsp:nvSpPr>
      <dsp:spPr>
        <a:xfrm>
          <a:off x="0" y="426"/>
          <a:ext cx="11471909" cy="81366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D11C1BA-FF0B-4EBC-847F-8093FC3B38F5}">
      <dsp:nvSpPr>
        <dsp:cNvPr id="0" name=""/>
        <dsp:cNvSpPr/>
      </dsp:nvSpPr>
      <dsp:spPr>
        <a:xfrm>
          <a:off x="246134" y="183851"/>
          <a:ext cx="447516" cy="44751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676364E-7EC2-4A32-BAE2-573C75C14FC6}">
      <dsp:nvSpPr>
        <dsp:cNvPr id="0" name=""/>
        <dsp:cNvSpPr/>
      </dsp:nvSpPr>
      <dsp:spPr>
        <a:xfrm>
          <a:off x="939784" y="776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Volumrabatt  - (kr 450 000)</a:t>
          </a:r>
          <a:endParaRPr lang="en-US" sz="2000" kern="1200" dirty="0"/>
        </a:p>
      </dsp:txBody>
      <dsp:txXfrm>
        <a:off x="939784" y="776"/>
        <a:ext cx="10532124" cy="813666"/>
      </dsp:txXfrm>
    </dsp:sp>
    <dsp:sp modelId="{07DDC65A-A0B3-4DF1-9988-A786B9368D5B}">
      <dsp:nvSpPr>
        <dsp:cNvPr id="0" name=""/>
        <dsp:cNvSpPr/>
      </dsp:nvSpPr>
      <dsp:spPr>
        <a:xfrm>
          <a:off x="0" y="1015548"/>
          <a:ext cx="11471909" cy="81366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CAE84FC-2E69-4752-8E0A-09B2291A4E93}">
      <dsp:nvSpPr>
        <dsp:cNvPr id="0" name=""/>
        <dsp:cNvSpPr/>
      </dsp:nvSpPr>
      <dsp:spPr>
        <a:xfrm>
          <a:off x="246134" y="1200934"/>
          <a:ext cx="447516" cy="44751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6C2FDAC-20D1-41E0-81F2-524D64DDAECB}">
      <dsp:nvSpPr>
        <dsp:cNvPr id="0" name=""/>
        <dsp:cNvSpPr/>
      </dsp:nvSpPr>
      <dsp:spPr>
        <a:xfrm>
          <a:off x="939784" y="1017859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Gjenbruk av lisenser - (kr 150 000)</a:t>
          </a:r>
          <a:endParaRPr lang="en-US" sz="2000" kern="1200" dirty="0"/>
        </a:p>
      </dsp:txBody>
      <dsp:txXfrm>
        <a:off x="939784" y="1017859"/>
        <a:ext cx="10532124" cy="813666"/>
      </dsp:txXfrm>
    </dsp:sp>
    <dsp:sp modelId="{76DE2B3B-A490-4C0F-A879-61CF6DBA4B1F}">
      <dsp:nvSpPr>
        <dsp:cNvPr id="0" name=""/>
        <dsp:cNvSpPr/>
      </dsp:nvSpPr>
      <dsp:spPr>
        <a:xfrm>
          <a:off x="0" y="2034942"/>
          <a:ext cx="11471909" cy="81366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9AFC5F9-4BB1-4691-89E7-F5F887444BC0}">
      <dsp:nvSpPr>
        <dsp:cNvPr id="0" name=""/>
        <dsp:cNvSpPr/>
      </dsp:nvSpPr>
      <dsp:spPr>
        <a:xfrm>
          <a:off x="246134" y="2218017"/>
          <a:ext cx="447516" cy="44751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4B970AE-EC15-4047-BDD8-A9FA13BA54D8}">
      <dsp:nvSpPr>
        <dsp:cNvPr id="0" name=""/>
        <dsp:cNvSpPr/>
      </dsp:nvSpPr>
      <dsp:spPr>
        <a:xfrm>
          <a:off x="939784" y="2034942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900" kern="1200" dirty="0"/>
            <a:t>Administrative kostnader- (Mange bruker mindre tid)</a:t>
          </a:r>
        </a:p>
      </dsp:txBody>
      <dsp:txXfrm>
        <a:off x="939784" y="2034942"/>
        <a:ext cx="10532124" cy="813666"/>
      </dsp:txXfrm>
    </dsp:sp>
    <dsp:sp modelId="{3AA8E565-E85D-4AB2-B1C2-2E312CCDF00E}">
      <dsp:nvSpPr>
        <dsp:cNvPr id="0" name=""/>
        <dsp:cNvSpPr/>
      </dsp:nvSpPr>
      <dsp:spPr>
        <a:xfrm>
          <a:off x="0" y="3030528"/>
          <a:ext cx="11471909" cy="81366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562C5B4-4BC5-467D-A889-D83DAE3094A3}">
      <dsp:nvSpPr>
        <dsp:cNvPr id="0" name=""/>
        <dsp:cNvSpPr/>
      </dsp:nvSpPr>
      <dsp:spPr>
        <a:xfrm>
          <a:off x="246134" y="3235100"/>
          <a:ext cx="447516" cy="44751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8784603-EB2C-47BD-94D4-793C1430A71F}">
      <dsp:nvSpPr>
        <dsp:cNvPr id="0" name=""/>
        <dsp:cNvSpPr/>
      </dsp:nvSpPr>
      <dsp:spPr>
        <a:xfrm>
          <a:off x="939784" y="3052025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Låst pris for 3år – (Forutsigbart)</a:t>
          </a:r>
          <a:endParaRPr lang="en-US" sz="2000" kern="1200" dirty="0"/>
        </a:p>
      </dsp:txBody>
      <dsp:txXfrm>
        <a:off x="939784" y="3052025"/>
        <a:ext cx="10532124" cy="813666"/>
      </dsp:txXfrm>
    </dsp:sp>
    <dsp:sp modelId="{04B3C262-D1B0-4077-92F7-500741EFDB9B}">
      <dsp:nvSpPr>
        <dsp:cNvPr id="0" name=""/>
        <dsp:cNvSpPr/>
      </dsp:nvSpPr>
      <dsp:spPr>
        <a:xfrm>
          <a:off x="0" y="4069108"/>
          <a:ext cx="11471909" cy="845716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68F4B11-9E27-4513-B050-77E66D56FECA}">
      <dsp:nvSpPr>
        <dsp:cNvPr id="0" name=""/>
        <dsp:cNvSpPr/>
      </dsp:nvSpPr>
      <dsp:spPr>
        <a:xfrm>
          <a:off x="246134" y="4268208"/>
          <a:ext cx="447516" cy="44751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905AEB3-1339-4BB9-A76B-7886EB6CFCB2}">
      <dsp:nvSpPr>
        <dsp:cNvPr id="0" name=""/>
        <dsp:cNvSpPr/>
      </dsp:nvSpPr>
      <dsp:spPr>
        <a:xfrm>
          <a:off x="939784" y="4085133"/>
          <a:ext cx="10532124" cy="8136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13" tIns="86113" rIns="86113" bIns="86113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nb-NO" sz="1900" b="0" i="0" u="none" strike="noStrike" kern="1200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Ett felles årsoppgjør - (</a:t>
          </a:r>
          <a:r>
            <a:rPr lang="nb-NO" sz="1900" kern="1200"/>
            <a:t>Tidsbesparende</a:t>
          </a:r>
          <a:r>
            <a:rPr kumimoji="0" lang="nb-NO" sz="1900" b="0" i="0" u="none" strike="noStrike" kern="1200" cap="none" spc="0" normalizeH="0" baseline="0" noProof="0">
              <a:ln/>
              <a:effectLst/>
              <a:uLnTx/>
              <a:uFillTx/>
              <a:latin typeface="Arial"/>
              <a:ea typeface="+mn-ea"/>
              <a:cs typeface="+mn-cs"/>
            </a:rPr>
            <a:t>)</a:t>
          </a:r>
          <a:endParaRPr lang="nb-NO" sz="1900" kern="1200" dirty="0"/>
        </a:p>
      </dsp:txBody>
      <dsp:txXfrm>
        <a:off x="939784" y="4085133"/>
        <a:ext cx="10532124" cy="8136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6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950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0212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122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4668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5057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- Ulike RT-maler, informasjon og veiledning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9619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2777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6372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738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5.sv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5.svg"/><Relationship Id="rId9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5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2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 marL="268288" indent="-268288">
              <a:defRPr sz="2800"/>
            </a:lvl1pPr>
            <a:lvl2pPr marL="685834" indent="-228611">
              <a:buFont typeface="Arial" panose="020B0604020202020204" pitchFamily="34" charset="0"/>
              <a:buChar char="–"/>
              <a:defRPr sz="2400"/>
            </a:lvl2pPr>
            <a:lvl3pPr marL="1143057" indent="-228611">
              <a:buFont typeface="Arial" panose="020B0604020202020204" pitchFamily="34" charset="0"/>
              <a:buChar char="▪"/>
              <a:defRPr sz="2400"/>
            </a:lvl3pPr>
            <a:lvl4pPr marL="1600280" indent="-228611">
              <a:buFont typeface="Arial" panose="020B0604020202020204" pitchFamily="34" charset="0"/>
              <a:buChar char="▫"/>
              <a:defRPr sz="2400"/>
            </a:lvl4pPr>
            <a:lvl5pPr marL="2057503" indent="-228611">
              <a:buFont typeface="Arial" panose="020B0604020202020204" pitchFamily="34" charset="0"/>
              <a:buChar char="ꞏ"/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 marL="268288" indent="-268288">
              <a:defRPr sz="2800"/>
            </a:lvl1pPr>
            <a:lvl2pPr marL="685834" indent="-228611">
              <a:buFont typeface="Arial" panose="020B0604020202020204" pitchFamily="34" charset="0"/>
              <a:buChar char="‒"/>
              <a:defRPr sz="2400"/>
            </a:lvl2pPr>
            <a:lvl3pPr marL="1143057" indent="-228611">
              <a:buFont typeface="Arial" panose="020B0604020202020204" pitchFamily="34" charset="0"/>
              <a:buChar char="▪"/>
              <a:defRPr sz="2400"/>
            </a:lvl3pPr>
            <a:lvl4pPr marL="1600280" indent="-228611">
              <a:buFont typeface="Arial" panose="020B0604020202020204" pitchFamily="34" charset="0"/>
              <a:buChar char="▫"/>
              <a:defRPr sz="2400"/>
            </a:lvl4pPr>
            <a:lvl5pPr marL="2057503" indent="-228611">
              <a:buFont typeface="Arial" panose="020B0604020202020204" pitchFamily="34" charset="0"/>
              <a:buChar char="ꞏ"/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 marL="268288" indent="-268288">
              <a:defRPr sz="2800"/>
            </a:lvl1pPr>
            <a:lvl2pPr marL="685834" indent="-228611">
              <a:buFont typeface="Arial" panose="020B0604020202020204" pitchFamily="34" charset="0"/>
              <a:buChar char="‒"/>
              <a:defRPr sz="2400"/>
            </a:lvl2pPr>
            <a:lvl3pPr marL="1143057" indent="-228611">
              <a:buFont typeface="Arial" panose="020B0604020202020204" pitchFamily="34" charset="0"/>
              <a:buChar char="▪"/>
              <a:defRPr sz="2400"/>
            </a:lvl3pPr>
            <a:lvl4pPr marL="1600280" indent="-228611">
              <a:buFont typeface="Arial" panose="020B0604020202020204" pitchFamily="34" charset="0"/>
              <a:buChar char="▫"/>
              <a:defRPr sz="2400"/>
            </a:lvl4pPr>
            <a:lvl5pPr marL="2057503" indent="-228611">
              <a:buFont typeface="Arial" panose="020B0604020202020204" pitchFamily="34" charset="0"/>
              <a:buChar char="ꞏ"/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 marL="268288" indent="-268288">
              <a:defRPr sz="2800"/>
            </a:lvl1pPr>
            <a:lvl2pPr marL="685834" indent="-228611">
              <a:buFont typeface="Arial" panose="020B0604020202020204" pitchFamily="34" charset="0"/>
              <a:buChar char="‒"/>
              <a:defRPr sz="2400"/>
            </a:lvl2pPr>
            <a:lvl3pPr marL="1143057" indent="-228611">
              <a:buFont typeface="Arial" panose="020B0604020202020204" pitchFamily="34" charset="0"/>
              <a:buChar char="▪"/>
              <a:defRPr sz="2400"/>
            </a:lvl3pPr>
            <a:lvl4pPr marL="1600280" indent="-228611">
              <a:buFont typeface="Arial" panose="020B0604020202020204" pitchFamily="34" charset="0"/>
              <a:buChar char="▫"/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268288" indent="-26828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268288" indent="-26828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268288" indent="-26828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 marL="268288" indent="-268288"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 marL="268288" indent="-268288"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 marL="268288" indent="-268288"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0558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8912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599468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0090985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0572755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4433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080763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5927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9916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3057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411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7657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833211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3540426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4011824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711993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9789264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938668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47699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73522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512057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6146177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422886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390827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7563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7637228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652989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21.e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1" r:id="rId8"/>
    <p:sldLayoutId id="2147483720" r:id="rId9"/>
    <p:sldLayoutId id="2147483719" r:id="rId10"/>
    <p:sldLayoutId id="2147483701" r:id="rId11"/>
    <p:sldLayoutId id="2147483702" r:id="rId12"/>
    <p:sldLayoutId id="2147483704" r:id="rId13"/>
    <p:sldLayoutId id="2147483706" r:id="rId14"/>
    <p:sldLayoutId id="2147483716" r:id="rId15"/>
    <p:sldLayoutId id="2147483717" r:id="rId16"/>
    <p:sldLayoutId id="2147483713" r:id="rId17"/>
    <p:sldLayoutId id="2147483714" r:id="rId18"/>
    <p:sldLayoutId id="2147483709" r:id="rId19"/>
    <p:sldLayoutId id="2147483710" r:id="rId20"/>
    <p:sldLayoutId id="2147483711" r:id="rId21"/>
    <p:sldLayoutId id="2147483712" r:id="rId22"/>
    <p:sldLayoutId id="2147483707" r:id="rId23"/>
    <p:sldLayoutId id="2147483708" r:id="rId24"/>
    <p:sldLayoutId id="2147483715" r:id="rId25"/>
    <p:sldLayoutId id="2147483718" r:id="rId26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2154533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jp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319" y="567"/>
            <a:ext cx="5979681" cy="6857433"/>
          </a:xfrm>
          <a:prstGeom prst="rect">
            <a:avLst/>
          </a:prstGeom>
        </p:spPr>
      </p:pic>
      <p:pic>
        <p:nvPicPr>
          <p:cNvPr id="10" name="logo_" descr="UiO Segl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7BEB34-BF47-47BB-8B35-A21F868F7B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B37F67-443C-40E9-9FE7-4E65332FA1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0825" y="1804738"/>
            <a:ext cx="5716962" cy="368968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-avdeling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261001"/>
          </a:xfrm>
        </p:spPr>
        <p:txBody>
          <a:bodyPr/>
          <a:lstStyle/>
          <a:p>
            <a:r>
              <a:rPr lang="nb-NO" dirty="0"/>
              <a:t>Fagteam Lisenser</a:t>
            </a:r>
            <a:br>
              <a:rPr lang="nb-NO" dirty="0"/>
            </a:br>
            <a:endParaRPr lang="nb-NO" dirty="0"/>
          </a:p>
        </p:txBody>
      </p:sp>
      <p:sp>
        <p:nvSpPr>
          <p:cNvPr id="9" name="Subtitle 4"/>
          <p:cNvSpPr>
            <a:spLocks noGrp="1"/>
          </p:cNvSpPr>
          <p:nvPr>
            <p:ph type="subTitle" idx="1"/>
          </p:nvPr>
        </p:nvSpPr>
        <p:spPr>
          <a:xfrm>
            <a:off x="383800" y="5199013"/>
            <a:ext cx="5716962" cy="258079"/>
          </a:xfrm>
        </p:spPr>
        <p:txBody>
          <a:bodyPr/>
          <a:lstStyle/>
          <a:p>
            <a:r>
              <a:rPr lang="nb-NO" dirty="0"/>
              <a:t>Espen Madsen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3800" y="5456305"/>
            <a:ext cx="5716962" cy="226283"/>
          </a:xfrm>
        </p:spPr>
        <p:txBody>
          <a:bodyPr/>
          <a:lstStyle/>
          <a:p>
            <a:r>
              <a:rPr lang="nb-NO" dirty="0"/>
              <a:t>Koordinator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83800" y="5723036"/>
            <a:ext cx="5716962" cy="226283"/>
          </a:xfrm>
        </p:spPr>
        <p:txBody>
          <a:bodyPr/>
          <a:lstStyle/>
          <a:p>
            <a:r>
              <a:rPr lang="nb-NO" dirty="0"/>
              <a:t>Fagteam Lisenser</a:t>
            </a:r>
          </a:p>
        </p:txBody>
      </p:sp>
      <p:sp>
        <p:nvSpPr>
          <p:cNvPr id="14" name="Date Placeholder 7"/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/>
          <a:lstStyle/>
          <a:p>
            <a:r>
              <a:rPr lang="nb-NO" dirty="0"/>
              <a:t>5. Juni 2024</a:t>
            </a:r>
          </a:p>
        </p:txBody>
      </p:sp>
    </p:spTree>
    <p:extLst>
      <p:ext uri="{BB962C8B-B14F-4D97-AF65-F5344CB8AC3E}">
        <p14:creationId xmlns:p14="http://schemas.microsoft.com/office/powerpoint/2010/main" val="2026507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>
            <a:extLst>
              <a:ext uri="{FF2B5EF4-FFF2-40B4-BE49-F238E27FC236}">
                <a16:creationId xmlns:a16="http://schemas.microsoft.com/office/drawing/2014/main" id="{B3589982-2955-EF54-0CDA-6BBCF53DB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 anchor="t">
            <a:normAutofit/>
          </a:bodyPr>
          <a:lstStyle/>
          <a:p>
            <a:r>
              <a:rPr lang="nb-NO" dirty="0"/>
              <a:t>Hvem er vi?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D1B87043-3CE1-A4FA-BBFB-7A0ABE38E4F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01" y="6280142"/>
            <a:ext cx="1021262" cy="20298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662BEB60-FC34-AAAD-39FC-1CC16AE8732B}"/>
              </a:ext>
            </a:extLst>
          </p:cNvPr>
          <p:cNvSpPr>
            <a:spLocks/>
          </p:cNvSpPr>
          <p:nvPr/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F6F99EA9-0C8D-895A-F505-3628EFF07A97}"/>
              </a:ext>
            </a:extLst>
          </p:cNvPr>
          <p:cNvSpPr>
            <a:spLocks/>
          </p:cNvSpPr>
          <p:nvPr/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BEE83E47-9310-09D5-8C48-870276385D83}"/>
              </a:ext>
            </a:extLst>
          </p:cNvPr>
          <p:cNvSpPr>
            <a:spLocks/>
          </p:cNvSpPr>
          <p:nvPr/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834AEC79-75F9-CDCE-CDB5-CC8F4E8F07CB}"/>
              </a:ext>
            </a:extLst>
          </p:cNvPr>
          <p:cNvSpPr>
            <a:spLocks/>
          </p:cNvSpPr>
          <p:nvPr/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3CEFEA1-87C3-8747-278B-8501DD58F312}"/>
              </a:ext>
            </a:extLst>
          </p:cNvPr>
          <p:cNvSpPr>
            <a:spLocks/>
          </p:cNvSpPr>
          <p:nvPr/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810DF0F8-3757-BF74-9E35-8149B28EE0FB}"/>
              </a:ext>
            </a:extLst>
          </p:cNvPr>
          <p:cNvSpPr>
            <a:spLocks/>
          </p:cNvSpPr>
          <p:nvPr/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DA377EF-7240-29B6-A041-0BF748377B8C}"/>
              </a:ext>
            </a:extLst>
          </p:cNvPr>
          <p:cNvSpPr>
            <a:spLocks/>
          </p:cNvSpPr>
          <p:nvPr/>
        </p:nvSpPr>
        <p:spPr>
          <a:xfrm>
            <a:off x="11137771" y="6497263"/>
            <a:ext cx="592265" cy="360737"/>
          </a:xfrm>
          <a:prstGeom prst="rect">
            <a:avLst/>
          </a:prstGeom>
        </p:spPr>
        <p:txBody>
          <a:bodyPr/>
          <a:lstStyle/>
          <a:p>
            <a:pPr defTabSz="224028">
              <a:spcAft>
                <a:spcPts val="600"/>
              </a:spcAft>
            </a:pPr>
            <a:r>
              <a:rPr lang="en-US" sz="88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de </a:t>
            </a:r>
            <a:fld id="{5251F420-7306-4E7C-A79E-F31A38F7D392}" type="slidenum">
              <a:rPr lang="en-US" sz="88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224028">
                <a:spcAft>
                  <a:spcPts val="600"/>
                </a:spcAft>
              </a:pPr>
              <a:t>2</a:t>
            </a:fld>
            <a:endParaRPr lang="en-US"/>
          </a:p>
        </p:txBody>
      </p:sp>
      <p:pic>
        <p:nvPicPr>
          <p:cNvPr id="15" name="Bilde 14" descr="Et bilde som inneholder Menneskeansikt, person, smil, portrett&#10;&#10;Automatisk generert beskrivelse">
            <a:extLst>
              <a:ext uri="{FF2B5EF4-FFF2-40B4-BE49-F238E27FC236}">
                <a16:creationId xmlns:a16="http://schemas.microsoft.com/office/drawing/2014/main" id="{53591B72-557A-575C-AF96-23F1E63A86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6587" y="1180009"/>
            <a:ext cx="915221" cy="1215121"/>
          </a:xfrm>
          <a:prstGeom prst="rect">
            <a:avLst/>
          </a:prstGeom>
        </p:spPr>
      </p:pic>
      <p:pic>
        <p:nvPicPr>
          <p:cNvPr id="21" name="Bilde 20" descr="Et bilde som inneholder Menneskeansikt, person, klær, portrett&#10;&#10;Automatisk generert beskrivelse">
            <a:extLst>
              <a:ext uri="{FF2B5EF4-FFF2-40B4-BE49-F238E27FC236}">
                <a16:creationId xmlns:a16="http://schemas.microsoft.com/office/drawing/2014/main" id="{C7C66504-930A-112A-75C5-5792C04E97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2502" y="2811630"/>
            <a:ext cx="919306" cy="896980"/>
          </a:xfrm>
          <a:prstGeom prst="rect">
            <a:avLst/>
          </a:prstGeom>
        </p:spPr>
      </p:pic>
      <p:pic>
        <p:nvPicPr>
          <p:cNvPr id="23" name="Bilde 22" descr="Et bilde som inneholder Menneskeansikt, person, smil, portrett&#10;&#10;Automatisk generert beskrivelse">
            <a:extLst>
              <a:ext uri="{FF2B5EF4-FFF2-40B4-BE49-F238E27FC236}">
                <a16:creationId xmlns:a16="http://schemas.microsoft.com/office/drawing/2014/main" id="{4049B82B-BED1-2186-F5AD-1CD64CD8E4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9527" y="1180008"/>
            <a:ext cx="930568" cy="1240757"/>
          </a:xfrm>
          <a:prstGeom prst="rect">
            <a:avLst/>
          </a:prstGeom>
        </p:spPr>
      </p:pic>
      <p:pic>
        <p:nvPicPr>
          <p:cNvPr id="25" name="Bilde 24" descr="Et bilde som inneholder Menneskeansikt, smil, person, portrett&#10;&#10;Automatisk generert beskrivelse">
            <a:extLst>
              <a:ext uri="{FF2B5EF4-FFF2-40B4-BE49-F238E27FC236}">
                <a16:creationId xmlns:a16="http://schemas.microsoft.com/office/drawing/2014/main" id="{84030F87-372A-F752-2474-01D9756F92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9527" y="2806031"/>
            <a:ext cx="915221" cy="1220294"/>
          </a:xfrm>
          <a:prstGeom prst="rect">
            <a:avLst/>
          </a:prstGeom>
        </p:spPr>
      </p:pic>
      <p:pic>
        <p:nvPicPr>
          <p:cNvPr id="27" name="Bilde 26" descr="Et bilde som inneholder Menneskeansikt, person, sort og hvit, portrett&#10;&#10;Automatisk generert beskrivelse">
            <a:extLst>
              <a:ext uri="{FF2B5EF4-FFF2-40B4-BE49-F238E27FC236}">
                <a16:creationId xmlns:a16="http://schemas.microsoft.com/office/drawing/2014/main" id="{0A336358-104C-2951-C55B-8C71A39518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2503" y="4432057"/>
            <a:ext cx="970614" cy="1220293"/>
          </a:xfrm>
          <a:prstGeom prst="rect">
            <a:avLst/>
          </a:prstGeom>
        </p:spPr>
      </p:pic>
      <p:pic>
        <p:nvPicPr>
          <p:cNvPr id="29" name="Bilde 28" descr="Et bilde som inneholder Menneskeansikt, person, portrett, smil&#10;&#10;Automatisk generert beskrivelse">
            <a:extLst>
              <a:ext uri="{FF2B5EF4-FFF2-40B4-BE49-F238E27FC236}">
                <a16:creationId xmlns:a16="http://schemas.microsoft.com/office/drawing/2014/main" id="{22065F0B-764E-F4A6-F348-448A84B9AC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9528" y="4432055"/>
            <a:ext cx="915221" cy="1220295"/>
          </a:xfrm>
          <a:prstGeom prst="rect">
            <a:avLst/>
          </a:prstGeom>
        </p:spPr>
      </p:pic>
      <p:sp>
        <p:nvSpPr>
          <p:cNvPr id="34" name="TekstSylinder 33">
            <a:extLst>
              <a:ext uri="{FF2B5EF4-FFF2-40B4-BE49-F238E27FC236}">
                <a16:creationId xmlns:a16="http://schemas.microsoft.com/office/drawing/2014/main" id="{8EF29A0B-1E78-A274-8776-9F1081521D48}"/>
              </a:ext>
            </a:extLst>
          </p:cNvPr>
          <p:cNvSpPr txBox="1"/>
          <p:nvPr/>
        </p:nvSpPr>
        <p:spPr>
          <a:xfrm>
            <a:off x="5709967" y="1239212"/>
            <a:ext cx="1728180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4028">
              <a:spcAft>
                <a:spcPts val="600"/>
              </a:spcAft>
            </a:pPr>
            <a:r>
              <a:rPr lang="nb-NO" sz="882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niel Strømseth Larsen</a:t>
            </a:r>
          </a:p>
          <a:p>
            <a:pPr defTabSz="224028">
              <a:spcAft>
                <a:spcPts val="600"/>
              </a:spcAft>
            </a:pPr>
            <a:r>
              <a:rPr lang="nb-NO" sz="88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SS - IT Sentrum</a:t>
            </a:r>
            <a:endParaRPr lang="nb-NO"/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D5BC4B71-9448-644B-2056-1AF65F66F8F9}"/>
              </a:ext>
            </a:extLst>
          </p:cNvPr>
          <p:cNvSpPr txBox="1"/>
          <p:nvPr/>
        </p:nvSpPr>
        <p:spPr>
          <a:xfrm>
            <a:off x="5763604" y="2887265"/>
            <a:ext cx="1728180" cy="791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4028">
              <a:spcAft>
                <a:spcPts val="600"/>
              </a:spcAft>
            </a:pPr>
            <a:r>
              <a:rPr lang="nb-NO" sz="882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nrik Boe </a:t>
            </a:r>
          </a:p>
          <a:p>
            <a:pPr defTabSz="224028">
              <a:spcAft>
                <a:spcPts val="600"/>
              </a:spcAft>
            </a:pPr>
            <a:r>
              <a:rPr lang="nb-NO" sz="88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SS - IT Gaustad og Geitmyrsveien</a:t>
            </a:r>
          </a:p>
          <a:p>
            <a:pPr>
              <a:spcAft>
                <a:spcPts val="600"/>
              </a:spcAft>
            </a:pPr>
            <a:endParaRPr lang="nb-NO"/>
          </a:p>
        </p:txBody>
      </p:sp>
      <p:sp>
        <p:nvSpPr>
          <p:cNvPr id="36" name="TekstSylinder 35">
            <a:extLst>
              <a:ext uri="{FF2B5EF4-FFF2-40B4-BE49-F238E27FC236}">
                <a16:creationId xmlns:a16="http://schemas.microsoft.com/office/drawing/2014/main" id="{C5E13779-C574-3729-238F-3AFD5714620D}"/>
              </a:ext>
            </a:extLst>
          </p:cNvPr>
          <p:cNvSpPr txBox="1"/>
          <p:nvPr/>
        </p:nvSpPr>
        <p:spPr>
          <a:xfrm>
            <a:off x="9409591" y="2811630"/>
            <a:ext cx="1728180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4028">
              <a:spcAft>
                <a:spcPts val="600"/>
              </a:spcAft>
            </a:pPr>
            <a:r>
              <a:rPr lang="nb-NO" sz="882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resa Amalathas</a:t>
            </a:r>
          </a:p>
          <a:p>
            <a:pPr defTabSz="224028">
              <a:spcAft>
                <a:spcPts val="600"/>
              </a:spcAft>
            </a:pPr>
            <a:r>
              <a:rPr lang="nb-NO" sz="88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SS - IT Nedre Blindern</a:t>
            </a:r>
            <a:endParaRPr lang="nb-NO"/>
          </a:p>
        </p:txBody>
      </p:sp>
      <p:sp>
        <p:nvSpPr>
          <p:cNvPr id="37" name="TekstSylinder 36">
            <a:extLst>
              <a:ext uri="{FF2B5EF4-FFF2-40B4-BE49-F238E27FC236}">
                <a16:creationId xmlns:a16="http://schemas.microsoft.com/office/drawing/2014/main" id="{E7172E4A-5474-C667-8B50-C9B866452F1C}"/>
              </a:ext>
            </a:extLst>
          </p:cNvPr>
          <p:cNvSpPr txBox="1"/>
          <p:nvPr/>
        </p:nvSpPr>
        <p:spPr>
          <a:xfrm>
            <a:off x="9358254" y="1239212"/>
            <a:ext cx="1728180" cy="576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4028">
              <a:spcAft>
                <a:spcPts val="600"/>
              </a:spcAft>
            </a:pPr>
            <a:r>
              <a:rPr lang="nb-NO" sz="882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omas Berg</a:t>
            </a:r>
          </a:p>
          <a:p>
            <a:pPr defTabSz="224028">
              <a:spcAft>
                <a:spcPts val="600"/>
              </a:spcAft>
            </a:pPr>
            <a:r>
              <a:rPr lang="nb-NO" sz="882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SS - IT Gaustad og Geitmyrsveien</a:t>
            </a:r>
            <a:endParaRPr lang="nb-NO" dirty="0"/>
          </a:p>
        </p:txBody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E932A5F3-17C0-4042-54BA-1594CAB47B5F}"/>
              </a:ext>
            </a:extLst>
          </p:cNvPr>
          <p:cNvSpPr txBox="1"/>
          <p:nvPr/>
        </p:nvSpPr>
        <p:spPr>
          <a:xfrm>
            <a:off x="5747124" y="4483733"/>
            <a:ext cx="1728180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4028">
              <a:spcAft>
                <a:spcPts val="600"/>
              </a:spcAft>
            </a:pPr>
            <a:r>
              <a:rPr lang="nb-NO" sz="882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laus Wik </a:t>
            </a:r>
          </a:p>
          <a:p>
            <a:pPr defTabSz="224028">
              <a:spcAft>
                <a:spcPts val="600"/>
              </a:spcAft>
            </a:pPr>
            <a:r>
              <a:rPr lang="nb-NO" sz="88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SS - IT Øvre Blindern</a:t>
            </a:r>
            <a:endParaRPr lang="nb-NO"/>
          </a:p>
        </p:txBody>
      </p:sp>
      <p:sp>
        <p:nvSpPr>
          <p:cNvPr id="40" name="TekstSylinder 39">
            <a:extLst>
              <a:ext uri="{FF2B5EF4-FFF2-40B4-BE49-F238E27FC236}">
                <a16:creationId xmlns:a16="http://schemas.microsoft.com/office/drawing/2014/main" id="{A5A32865-F76B-ACA2-22E5-9A7E5EF9BCC7}"/>
              </a:ext>
            </a:extLst>
          </p:cNvPr>
          <p:cNvSpPr txBox="1"/>
          <p:nvPr/>
        </p:nvSpPr>
        <p:spPr>
          <a:xfrm>
            <a:off x="9380209" y="4439329"/>
            <a:ext cx="1728180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24028">
              <a:spcAft>
                <a:spcPts val="600"/>
              </a:spcAft>
            </a:pPr>
            <a:r>
              <a:rPr lang="nb-NO" sz="882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pen Madsen </a:t>
            </a:r>
          </a:p>
          <a:p>
            <a:pPr defTabSz="224028">
              <a:spcAft>
                <a:spcPts val="600"/>
              </a:spcAft>
            </a:pPr>
            <a:r>
              <a:rPr lang="nb-NO" sz="88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SS - IT Nedre Blindern</a:t>
            </a:r>
            <a:endParaRPr lang="nb-NO"/>
          </a:p>
        </p:txBody>
      </p:sp>
      <p:sp>
        <p:nvSpPr>
          <p:cNvPr id="41" name="TekstSylinder 40">
            <a:extLst>
              <a:ext uri="{FF2B5EF4-FFF2-40B4-BE49-F238E27FC236}">
                <a16:creationId xmlns:a16="http://schemas.microsoft.com/office/drawing/2014/main" id="{72F7D0CF-E28A-78BF-138B-5DCCF0AF26F4}"/>
              </a:ext>
            </a:extLst>
          </p:cNvPr>
          <p:cNvSpPr txBox="1"/>
          <p:nvPr/>
        </p:nvSpPr>
        <p:spPr>
          <a:xfrm>
            <a:off x="382898" y="1197003"/>
            <a:ext cx="3161940" cy="1978234"/>
          </a:xfrm>
          <a:prstGeom prst="rect">
            <a:avLst/>
          </a:prstGeom>
          <a:solidFill>
            <a:schemeClr val="accent4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12700"/>
          </a:effectLst>
        </p:spPr>
        <p:txBody>
          <a:bodyPr wrap="square" rtlCol="0">
            <a:spAutoFit/>
          </a:bodyPr>
          <a:lstStyle/>
          <a:p>
            <a:pPr marL="168021" indent="-168021" defTabSz="224028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 sz="1176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68021" indent="-168021" defTabSz="22402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76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prettet høsten 2023</a:t>
            </a:r>
          </a:p>
          <a:p>
            <a:pPr defTabSz="224028">
              <a:spcAft>
                <a:spcPts val="600"/>
              </a:spcAft>
            </a:pPr>
            <a:endParaRPr lang="nb-NO" sz="1176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168021" indent="-168021" defTabSz="22402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76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rtet med Adobe-lisenser</a:t>
            </a:r>
          </a:p>
          <a:p>
            <a:pPr marL="168021" indent="-168021" defTabSz="224028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 sz="1176" dirty="0"/>
          </a:p>
          <a:p>
            <a:pPr marL="168021" indent="-168021" defTabSz="22402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dirty="0"/>
              <a:t>Ønsker fremover å finne flere programvarelisenser å jobbe med</a:t>
            </a:r>
          </a:p>
          <a:p>
            <a:pPr defTabSz="224028">
              <a:spcAft>
                <a:spcPts val="600"/>
              </a:spcAft>
            </a:pPr>
            <a:endParaRPr lang="nb-NO" sz="1176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12022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8A237687-2353-A127-97FF-2B3FCB5485A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A298B61-2C09-0763-C90A-4B17D91AD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jobber vi?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987601D9-9302-4F29-2A85-064967CB791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F0D1C22C-387B-AAD5-603C-70DCACDE4C1E}"/>
              </a:ext>
            </a:extLst>
          </p:cNvPr>
          <p:cNvSpPr txBox="1"/>
          <p:nvPr/>
        </p:nvSpPr>
        <p:spPr>
          <a:xfrm>
            <a:off x="9324975" y="1182473"/>
            <a:ext cx="2566987" cy="1277273"/>
          </a:xfrm>
          <a:prstGeom prst="rect">
            <a:avLst/>
          </a:prstGeom>
          <a:solidFill>
            <a:schemeClr val="accent4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/>
              <a:t>Månedlige mø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 err="1"/>
              <a:t>Årshjul</a:t>
            </a: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/>
              <a:t>Rapporterer til </a:t>
            </a:r>
            <a:r>
              <a:rPr lang="nb-NO" sz="1100" dirty="0" err="1"/>
              <a:t>bss</a:t>
            </a:r>
            <a:r>
              <a:rPr lang="nb-NO" sz="1100" dirty="0"/>
              <a:t>-sjef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</p:txBody>
      </p:sp>
      <p:pic>
        <p:nvPicPr>
          <p:cNvPr id="15" name="Plassholder for bilde 14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973DC8EA-190E-7A52-2CA7-85779F857017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29" b="7529"/>
          <a:stretch>
            <a:fillRect/>
          </a:stretch>
        </p:blipFill>
        <p:spPr>
          <a:xfrm>
            <a:off x="171450" y="1265211"/>
            <a:ext cx="8772525" cy="402595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905267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1">
            <a:extLst>
              <a:ext uri="{FF2B5EF4-FFF2-40B4-BE49-F238E27FC236}">
                <a16:creationId xmlns:a16="http://schemas.microsoft.com/office/drawing/2014/main" id="{F58E5D60-B588-9775-6660-A07DB1F794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F346869-D469-0022-C540-8EE481EDB3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9DEB766D-2B44-CECF-5AB3-E423BD271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Hvordan fungerer Adobe-lisenser?</a:t>
            </a:r>
          </a:p>
        </p:txBody>
      </p:sp>
      <p:pic>
        <p:nvPicPr>
          <p:cNvPr id="7" name="Plassholder for bilde 6" descr="Et bilde som inneholder tekst, programvare, Dataikon, Nettside&#10;&#10;Automatisk generert beskrivelse">
            <a:extLst>
              <a:ext uri="{FF2B5EF4-FFF2-40B4-BE49-F238E27FC236}">
                <a16:creationId xmlns:a16="http://schemas.microsoft.com/office/drawing/2014/main" id="{C0ABF60B-BA8A-4C64-27C6-334CF78C70EB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4" y="978903"/>
            <a:ext cx="8469248" cy="45741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B44E54CA-44B8-286C-52E5-B6E1BD95B81F}"/>
              </a:ext>
            </a:extLst>
          </p:cNvPr>
          <p:cNvSpPr txBox="1"/>
          <p:nvPr/>
        </p:nvSpPr>
        <p:spPr>
          <a:xfrm>
            <a:off x="9324975" y="1123950"/>
            <a:ext cx="2619375" cy="1277273"/>
          </a:xfrm>
          <a:prstGeom prst="rect">
            <a:avLst/>
          </a:prstGeom>
          <a:solidFill>
            <a:schemeClr val="accent4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/>
              <a:t>Forvaltes via </a:t>
            </a:r>
            <a:r>
              <a:rPr lang="nb-NO" sz="1100" dirty="0" err="1"/>
              <a:t>Admin</a:t>
            </a:r>
            <a:r>
              <a:rPr lang="nb-NO" sz="1100" dirty="0"/>
              <a:t> konsoll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/>
              <a:t>Personlige leielisens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/>
              <a:t>Fornyes årli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</p:txBody>
      </p:sp>
    </p:spTree>
    <p:extLst>
      <p:ext uri="{BB962C8B-B14F-4D97-AF65-F5344CB8AC3E}">
        <p14:creationId xmlns:p14="http://schemas.microsoft.com/office/powerpoint/2010/main" val="24665283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Sylinder 9">
            <a:extLst>
              <a:ext uri="{FF2B5EF4-FFF2-40B4-BE49-F238E27FC236}">
                <a16:creationId xmlns:a16="http://schemas.microsoft.com/office/drawing/2014/main" id="{D687B67A-9CE9-8FF7-E000-1744AC5D90B4}"/>
              </a:ext>
            </a:extLst>
          </p:cNvPr>
          <p:cNvSpPr txBox="1"/>
          <p:nvPr/>
        </p:nvSpPr>
        <p:spPr>
          <a:xfrm>
            <a:off x="380168" y="161944"/>
            <a:ext cx="11431664" cy="75406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defTabSz="914446">
              <a:spcBef>
                <a:spcPct val="0"/>
              </a:spcBef>
              <a:spcAft>
                <a:spcPts val="600"/>
              </a:spcAft>
            </a:pPr>
            <a:r>
              <a:rPr lang="nb-NO" sz="3600" dirty="0"/>
              <a:t>Digitalisert b</a:t>
            </a:r>
            <a:r>
              <a:rPr lang="en-US" sz="3500" kern="1200" dirty="0" err="1">
                <a:latin typeface="+mj-lt"/>
              </a:rPr>
              <a:t>estillingsprosessen</a:t>
            </a:r>
            <a:endParaRPr lang="en-US" sz="3500" kern="1200" dirty="0">
              <a:latin typeface="+mj-lt"/>
            </a:endParaRP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22158DEC-A65F-8C86-8B05-85821DC689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371A0E5-FA56-829B-5AE5-D59F7CABF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pic>
        <p:nvPicPr>
          <p:cNvPr id="18" name="Bilde 17" descr="Et bilde som inneholder tekst, skjermbilde, Font, nummer&#10;&#10;Automatisk generert beskrivelse">
            <a:extLst>
              <a:ext uri="{FF2B5EF4-FFF2-40B4-BE49-F238E27FC236}">
                <a16:creationId xmlns:a16="http://schemas.microsoft.com/office/drawing/2014/main" id="{AD0648AF-8A1D-0DB3-CD15-BC917A8319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667" y="418363"/>
            <a:ext cx="4197876" cy="59544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TekstSylinder 18">
            <a:extLst>
              <a:ext uri="{FF2B5EF4-FFF2-40B4-BE49-F238E27FC236}">
                <a16:creationId xmlns:a16="http://schemas.microsoft.com/office/drawing/2014/main" id="{79B68AF9-4CE7-75D9-3E49-872F9E4A7B28}"/>
              </a:ext>
            </a:extLst>
          </p:cNvPr>
          <p:cNvSpPr txBox="1"/>
          <p:nvPr/>
        </p:nvSpPr>
        <p:spPr>
          <a:xfrm>
            <a:off x="380168" y="1314450"/>
            <a:ext cx="4506157" cy="600164"/>
          </a:xfrm>
          <a:prstGeom prst="rect">
            <a:avLst/>
          </a:prstGeom>
          <a:solidFill>
            <a:schemeClr val="accent4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/>
              <a:t>Standardisert og enkelt å bruke</a:t>
            </a:r>
          </a:p>
          <a:p>
            <a:endParaRPr lang="nb-NO" sz="1100" dirty="0"/>
          </a:p>
        </p:txBody>
      </p:sp>
    </p:spTree>
    <p:extLst>
      <p:ext uri="{BB962C8B-B14F-4D97-AF65-F5344CB8AC3E}">
        <p14:creationId xmlns:p14="http://schemas.microsoft.com/office/powerpoint/2010/main" val="21025748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kstSylinder 9">
            <a:extLst>
              <a:ext uri="{FF2B5EF4-FFF2-40B4-BE49-F238E27FC236}">
                <a16:creationId xmlns:a16="http://schemas.microsoft.com/office/drawing/2014/main" id="{D687B67A-9CE9-8FF7-E000-1744AC5D90B4}"/>
              </a:ext>
            </a:extLst>
          </p:cNvPr>
          <p:cNvSpPr txBox="1"/>
          <p:nvPr/>
        </p:nvSpPr>
        <p:spPr>
          <a:xfrm>
            <a:off x="380168" y="161944"/>
            <a:ext cx="11431664" cy="75406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defTabSz="914446">
              <a:spcBef>
                <a:spcPct val="0"/>
              </a:spcBef>
              <a:spcAft>
                <a:spcPts val="600"/>
              </a:spcAft>
            </a:pPr>
            <a:endParaRPr lang="en-US" sz="3500" kern="1200" dirty="0">
              <a:latin typeface="+mj-lt"/>
            </a:endParaRP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22158DEC-A65F-8C86-8B05-85821DC689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371A0E5-FA56-829B-5AE5-D59F7CABF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pic>
        <p:nvPicPr>
          <p:cNvPr id="3" name="Bilde 2" descr="Et bilde som inneholder tekst, skjermbilde, Font, dokument&#10;&#10;Automatisk generert beskrivelse">
            <a:extLst>
              <a:ext uri="{FF2B5EF4-FFF2-40B4-BE49-F238E27FC236}">
                <a16:creationId xmlns:a16="http://schemas.microsoft.com/office/drawing/2014/main" id="{79DF98EB-D18A-40B6-AD95-CCB7E53B21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7900" y="213900"/>
            <a:ext cx="9378823" cy="62885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461288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BC3DD39F-BB6A-8015-CB85-9832B481484C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A566C31-2F5E-82A0-0E5D-E403CF521920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5" name="Tittel 14">
            <a:extLst>
              <a:ext uri="{FF2B5EF4-FFF2-40B4-BE49-F238E27FC236}">
                <a16:creationId xmlns:a16="http://schemas.microsoft.com/office/drawing/2014/main" id="{F6B9BA3E-BA6E-D000-2E6A-4350816B97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060" y="366061"/>
            <a:ext cx="11471910" cy="542658"/>
          </a:xfrm>
        </p:spPr>
        <p:txBody>
          <a:bodyPr/>
          <a:lstStyle/>
          <a:p>
            <a:r>
              <a:rPr lang="nb-NO" dirty="0"/>
              <a:t>431 sammenslåtte lisenser så langt</a:t>
            </a:r>
          </a:p>
        </p:txBody>
      </p:sp>
      <p:sp>
        <p:nvSpPr>
          <p:cNvPr id="16" name="Undertittel 15">
            <a:extLst>
              <a:ext uri="{FF2B5EF4-FFF2-40B4-BE49-F238E27FC236}">
                <a16:creationId xmlns:a16="http://schemas.microsoft.com/office/drawing/2014/main" id="{318276C2-1059-86A3-6890-27A3D82EB27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5719"/>
          </a:xfrm>
        </p:spPr>
        <p:txBody>
          <a:bodyPr/>
          <a:lstStyle/>
          <a:p>
            <a:endParaRPr lang="nb-NO" dirty="0"/>
          </a:p>
        </p:txBody>
      </p:sp>
      <p:graphicFrame>
        <p:nvGraphicFramePr>
          <p:cNvPr id="9" name="Plassholder for innhold 8">
            <a:extLst>
              <a:ext uri="{FF2B5EF4-FFF2-40B4-BE49-F238E27FC236}">
                <a16:creationId xmlns:a16="http://schemas.microsoft.com/office/drawing/2014/main" id="{AFCCF7E8-4AD5-6F09-9C1A-123D1A6096E7}"/>
              </a:ext>
            </a:extLst>
          </p:cNvPr>
          <p:cNvGraphicFramePr>
            <a:graphicFrameLocks noGrp="1"/>
          </p:cNvGraphicFramePr>
          <p:nvPr>
            <p:ph sz="half" idx="29"/>
            <p:extLst>
              <p:ext uri="{D42A27DB-BD31-4B8C-83A1-F6EECF244321}">
                <p14:modId xmlns:p14="http://schemas.microsoft.com/office/powerpoint/2010/main" val="3980550094"/>
              </p:ext>
            </p:extLst>
          </p:nvPr>
        </p:nvGraphicFramePr>
        <p:xfrm>
          <a:off x="360362" y="1569721"/>
          <a:ext cx="7850188" cy="4488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72D96F23-4E51-9880-E0A3-621D702B0BC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372078" y="1723349"/>
            <a:ext cx="3364228" cy="1477051"/>
          </a:xfrm>
          <a:solidFill>
            <a:schemeClr val="accent4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14 av 24 </a:t>
            </a:r>
            <a:r>
              <a:rPr lang="en-US" sz="1100" dirty="0" err="1">
                <a:solidFill>
                  <a:srgbClr val="000000"/>
                </a:solidFill>
              </a:rPr>
              <a:t>konsoller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ved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UiO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slått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sammen</a:t>
            </a:r>
            <a:endParaRPr lang="en-US" sz="1100" dirty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Ingen </a:t>
            </a:r>
            <a:r>
              <a:rPr lang="en-US" sz="1100" dirty="0" err="1">
                <a:solidFill>
                  <a:srgbClr val="000000"/>
                </a:solidFill>
              </a:rPr>
              <a:t>konsoll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oppnår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høyeste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volumrabatt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alene</a:t>
            </a:r>
            <a:endParaRPr lang="en-US" sz="1100" dirty="0"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/>
              <a:t>Fullføre flytting av Adobe-lisenser - April 202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/>
          </a:p>
        </p:txBody>
      </p:sp>
      <p:sp>
        <p:nvSpPr>
          <p:cNvPr id="21" name="Plassholder for innhold 20">
            <a:extLst>
              <a:ext uri="{FF2B5EF4-FFF2-40B4-BE49-F238E27FC236}">
                <a16:creationId xmlns:a16="http://schemas.microsoft.com/office/drawing/2014/main" id="{254E3491-A467-DA8F-DE84-289BB196AE52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8467724" y="4343445"/>
            <a:ext cx="3364229" cy="1715448"/>
          </a:xfrm>
        </p:spPr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687399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EDD74CB8-E914-7EED-0BEF-168C02C67BA7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51995B-2991-4C70-A67D-35BFCC4C02E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E8D6E887-3F13-7E7F-6993-3094BD84F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en-US" dirty="0" err="1"/>
              <a:t>Gevinst</a:t>
            </a:r>
            <a:r>
              <a:rPr lang="en-US" dirty="0"/>
              <a:t> </a:t>
            </a:r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felles</a:t>
            </a:r>
            <a:r>
              <a:rPr lang="en-US" dirty="0"/>
              <a:t> </a:t>
            </a:r>
            <a:r>
              <a:rPr lang="en-US" dirty="0" err="1"/>
              <a:t>forvaltning</a:t>
            </a:r>
            <a:r>
              <a:rPr lang="en-US" dirty="0"/>
              <a:t> av Adobe-</a:t>
            </a:r>
            <a:r>
              <a:rPr lang="en-US" dirty="0" err="1"/>
              <a:t>lisenser</a:t>
            </a:r>
            <a:r>
              <a:rPr lang="en-US" dirty="0"/>
              <a:t>			</a:t>
            </a:r>
          </a:p>
        </p:txBody>
      </p:sp>
      <p:sp>
        <p:nvSpPr>
          <p:cNvPr id="25" name="Subtitle 4">
            <a:extLst>
              <a:ext uri="{FF2B5EF4-FFF2-40B4-BE49-F238E27FC236}">
                <a16:creationId xmlns:a16="http://schemas.microsoft.com/office/drawing/2014/main" id="{4160D79C-0D6E-4D17-ADF1-F4844E714D6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17" name="TextBox 14">
            <a:extLst>
              <a:ext uri="{FF2B5EF4-FFF2-40B4-BE49-F238E27FC236}">
                <a16:creationId xmlns:a16="http://schemas.microsoft.com/office/drawing/2014/main" id="{A268D142-D6C8-759A-23F1-1B64456074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4561802"/>
              </p:ext>
            </p:extLst>
          </p:nvPr>
        </p:nvGraphicFramePr>
        <p:xfrm>
          <a:off x="360043" y="1017361"/>
          <a:ext cx="11471909" cy="4915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118309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EDD74CB8-E914-7EED-0BEF-168C02C67BA7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51995B-2991-4C70-A67D-35BFCC4C02E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E8D6E887-3F13-7E7F-6993-3094BD84F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en-US" dirty="0" err="1"/>
              <a:t>Gevinst</a:t>
            </a:r>
            <a:r>
              <a:rPr lang="en-US" dirty="0"/>
              <a:t> </a:t>
            </a:r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felles</a:t>
            </a:r>
            <a:r>
              <a:rPr lang="en-US" dirty="0"/>
              <a:t> </a:t>
            </a:r>
            <a:r>
              <a:rPr lang="en-US" dirty="0" err="1"/>
              <a:t>forvaltning</a:t>
            </a:r>
            <a:r>
              <a:rPr lang="en-US" dirty="0"/>
              <a:t> av Adobe-</a:t>
            </a:r>
            <a:r>
              <a:rPr lang="en-US" dirty="0" err="1"/>
              <a:t>lisenser</a:t>
            </a:r>
            <a:r>
              <a:rPr lang="en-US" dirty="0"/>
              <a:t>			</a:t>
            </a:r>
          </a:p>
        </p:txBody>
      </p:sp>
      <p:sp>
        <p:nvSpPr>
          <p:cNvPr id="25" name="Subtitle 4">
            <a:extLst>
              <a:ext uri="{FF2B5EF4-FFF2-40B4-BE49-F238E27FC236}">
                <a16:creationId xmlns:a16="http://schemas.microsoft.com/office/drawing/2014/main" id="{4160D79C-0D6E-4D17-ADF1-F4844E714D6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endParaRPr lang="en-US" dirty="0"/>
          </a:p>
        </p:txBody>
      </p:sp>
      <p:graphicFrame>
        <p:nvGraphicFramePr>
          <p:cNvPr id="17" name="TextBox 14">
            <a:extLst>
              <a:ext uri="{FF2B5EF4-FFF2-40B4-BE49-F238E27FC236}">
                <a16:creationId xmlns:a16="http://schemas.microsoft.com/office/drawing/2014/main" id="{A268D142-D6C8-759A-23F1-1B6445607492}"/>
              </a:ext>
            </a:extLst>
          </p:cNvPr>
          <p:cNvGraphicFramePr/>
          <p:nvPr/>
        </p:nvGraphicFramePr>
        <p:xfrm>
          <a:off x="360043" y="1017361"/>
          <a:ext cx="11471909" cy="4915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ektangel: avrundede hjørner 2">
            <a:extLst>
              <a:ext uri="{FF2B5EF4-FFF2-40B4-BE49-F238E27FC236}">
                <a16:creationId xmlns:a16="http://schemas.microsoft.com/office/drawing/2014/main" id="{6783BCE4-179E-CAEB-D3A7-7CAD10709EC9}"/>
              </a:ext>
            </a:extLst>
          </p:cNvPr>
          <p:cNvSpPr/>
          <p:nvPr/>
        </p:nvSpPr>
        <p:spPr>
          <a:xfrm rot="21048737">
            <a:off x="375075" y="3007111"/>
            <a:ext cx="11471909" cy="1110088"/>
          </a:xfrm>
          <a:prstGeom prst="roundRect">
            <a:avLst>
              <a:gd name="adj" fmla="val 10000"/>
            </a:avLst>
          </a:prstGeom>
          <a:solidFill>
            <a:srgbClr val="92D050"/>
          </a:solidFill>
          <a:effectLst>
            <a:innerShdw blurRad="114300">
              <a:prstClr val="black"/>
            </a:innerShdw>
          </a:effectLst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algn="ctr"/>
            <a:endParaRPr lang="nb-NO" sz="2000" dirty="0"/>
          </a:p>
          <a:p>
            <a:pPr algn="ctr"/>
            <a:r>
              <a:rPr lang="nb-NO" sz="2000" dirty="0"/>
              <a:t> Vil spare UiO for 1 Million Kroner</a:t>
            </a:r>
          </a:p>
        </p:txBody>
      </p:sp>
    </p:spTree>
    <p:extLst>
      <p:ext uri="{BB962C8B-B14F-4D97-AF65-F5344CB8AC3E}">
        <p14:creationId xmlns:p14="http://schemas.microsoft.com/office/powerpoint/2010/main" val="39394527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t-4.potx" id="{5462B480-AC17-4ECE-9D2D-046105A1420B}" vid="{4E59FD76-BCCB-4AAD-BCFB-85954C97E05B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ED1722C5417E428A4C08AC84E2D0D1" ma:contentTypeVersion="2" ma:contentTypeDescription="Create a new document." ma:contentTypeScope="" ma:versionID="2d943a95def0323a13dd5035a9c1083d">
  <xsd:schema xmlns:xsd="http://www.w3.org/2001/XMLSchema" xmlns:xs="http://www.w3.org/2001/XMLSchema" xmlns:p="http://schemas.microsoft.com/office/2006/metadata/properties" xmlns:ns2="51cbbaba-69d4-4370-93dc-027b4c3535ca" targetNamespace="http://schemas.microsoft.com/office/2006/metadata/properties" ma:root="true" ma:fieldsID="450d32cd9400e44143311b2d9047a5ab" ns2:_="">
    <xsd:import namespace="51cbbaba-69d4-4370-93dc-027b4c3535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cbbaba-69d4-4370-93dc-027b4c3535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documentManagement/types"/>
    <ds:schemaRef ds:uri="51cbbaba-69d4-4370-93dc-027b4c3535ca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FBF75E6-C040-44FD-A894-7FA9555083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cbbaba-69d4-4370-93dc-027b4c3535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63b6811-b0a4-4b2a-b932-72c4c970c5d2}" enabled="0" method="" siteId="{463b6811-b0a4-4b2a-b932-72c4c970c5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t-4 (1)</Template>
  <TotalTime>12812</TotalTime>
  <Words>269</Words>
  <Application>Microsoft Office PowerPoint</Application>
  <PresentationFormat>Widescreen</PresentationFormat>
  <Paragraphs>80</Paragraphs>
  <Slides>9</Slides>
  <Notes>9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16" baseType="lpstr">
      <vt:lpstr>Arial</vt:lpstr>
      <vt:lpstr>Arial, sans-serif</vt:lpstr>
      <vt:lpstr>Calibri</vt:lpstr>
      <vt:lpstr>Wingdings</vt:lpstr>
      <vt:lpstr>Office-tema</vt:lpstr>
      <vt:lpstr>Office Theme</vt:lpstr>
      <vt:lpstr>think-cell Slide</vt:lpstr>
      <vt:lpstr>Fagteam Lisenser </vt:lpstr>
      <vt:lpstr>Hvem er vi?</vt:lpstr>
      <vt:lpstr>Hvordan jobber vi?</vt:lpstr>
      <vt:lpstr>Hvordan fungerer Adobe-lisenser?</vt:lpstr>
      <vt:lpstr>PowerPoint-presentasjon</vt:lpstr>
      <vt:lpstr>PowerPoint-presentasjon</vt:lpstr>
      <vt:lpstr>431 sammenslåtte lisenser så langt</vt:lpstr>
      <vt:lpstr>Gevinst ved felles forvaltning av Adobe-lisenser   </vt:lpstr>
      <vt:lpstr>Gevinst ved felles forvaltning av Adobe-lisenser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Espen Madsen</dc:creator>
  <cp:lastModifiedBy>Espen Madsen</cp:lastModifiedBy>
  <cp:revision>3</cp:revision>
  <dcterms:created xsi:type="dcterms:W3CDTF">2024-05-27T11:44:25Z</dcterms:created>
  <dcterms:modified xsi:type="dcterms:W3CDTF">2024-06-06T09:4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ED1722C5417E428A4C08AC84E2D0D1</vt:lpwstr>
  </property>
  <property fmtid="{D5CDD505-2E9C-101B-9397-08002B2CF9AE}" pid="3" name="_dlc_DocIdItemGuid">
    <vt:lpwstr>60f82c51-e997-4246-8d27-ec3536cdfe10</vt:lpwstr>
  </property>
</Properties>
</file>